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70"/>
  </p:sldMasterIdLst>
  <p:notesMasterIdLst>
    <p:notesMasterId r:id="rId85"/>
  </p:notesMasterIdLst>
  <p:handoutMasterIdLst>
    <p:handoutMasterId r:id="rId86"/>
  </p:handoutMasterIdLst>
  <p:sldIdLst>
    <p:sldId id="256" r:id="rId71"/>
    <p:sldId id="1287" r:id="rId72"/>
    <p:sldId id="1297" r:id="rId73"/>
    <p:sldId id="281" r:id="rId74"/>
    <p:sldId id="1296" r:id="rId75"/>
    <p:sldId id="1299" r:id="rId76"/>
    <p:sldId id="1301" r:id="rId77"/>
    <p:sldId id="1280" r:id="rId78"/>
    <p:sldId id="302" r:id="rId79"/>
    <p:sldId id="1285" r:id="rId80"/>
    <p:sldId id="297" r:id="rId81"/>
    <p:sldId id="336" r:id="rId82"/>
    <p:sldId id="292" r:id="rId83"/>
    <p:sldId id="294" r:id="rId84"/>
  </p:sldIdLst>
  <p:sldSz cx="12192000" cy="6858000"/>
  <p:notesSz cx="6858000" cy="9144000"/>
  <p:custDataLst>
    <p:custData r:id="rId69"/>
    <p:tags r:id="rId87"/>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70B483-6607-084F-1428-18027F71A233}" name="Verderame, Laura" initials="LV" userId="S::Laura.Verderame@guycarp.com::c9f7ce73-3914-45e9-b146-61d4329fa8a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ACD1"/>
    <a:srgbClr val="F0F0F0"/>
    <a:srgbClr val="016198"/>
    <a:srgbClr val="006198"/>
    <a:srgbClr val="00ADD5"/>
    <a:srgbClr val="002C77"/>
    <a:srgbClr val="C00000"/>
    <a:srgbClr val="D8D8D8"/>
    <a:srgbClr val="33A02C"/>
    <a:srgbClr val="D0CFD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24" autoAdjust="0"/>
    <p:restoredTop sz="96247" autoAdjust="0"/>
  </p:normalViewPr>
  <p:slideViewPr>
    <p:cSldViewPr snapToGrid="0" snapToObjects="1">
      <p:cViewPr varScale="1">
        <p:scale>
          <a:sx n="111" d="100"/>
          <a:sy n="111" d="100"/>
        </p:scale>
        <p:origin x="822" y="96"/>
      </p:cViewPr>
      <p:guideLst>
        <p:guide orient="horz" pos="2160"/>
        <p:guide pos="3840"/>
      </p:guideLst>
    </p:cSldViewPr>
  </p:slideViewPr>
  <p:notesTextViewPr>
    <p:cViewPr>
      <p:scale>
        <a:sx n="3" d="2"/>
        <a:sy n="3" d="2"/>
      </p:scale>
      <p:origin x="0" y="0"/>
    </p:cViewPr>
  </p:notesTextViewPr>
  <p:sorterViewPr>
    <p:cViewPr>
      <p:scale>
        <a:sx n="80" d="100"/>
        <a:sy n="80" d="100"/>
      </p:scale>
      <p:origin x="0" y="0"/>
    </p:cViewPr>
  </p:sorterViewPr>
  <p:notesViewPr>
    <p:cSldViewPr snapToGrid="0" snapToObjects="1">
      <p:cViewPr varScale="1">
        <p:scale>
          <a:sx n="72" d="100"/>
          <a:sy n="72" d="100"/>
        </p:scale>
        <p:origin x="3010"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14.xml"/><Relationship Id="rId89" Type="http://schemas.openxmlformats.org/officeDocument/2006/relationships/presProps" Target="presProp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4.xml"/><Relationship Id="rId79" Type="http://schemas.openxmlformats.org/officeDocument/2006/relationships/slide" Target="slides/slide9.xml"/><Relationship Id="rId5" Type="http://schemas.openxmlformats.org/officeDocument/2006/relationships/customXml" Target="../customXml/item5.xml"/><Relationship Id="rId90" Type="http://schemas.openxmlformats.org/officeDocument/2006/relationships/viewProps" Target="viewProps.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2.xml"/><Relationship Id="rId80" Type="http://schemas.openxmlformats.org/officeDocument/2006/relationships/slide" Target="slides/slide10.xml"/><Relationship Id="rId85" Type="http://schemas.openxmlformats.org/officeDocument/2006/relationships/notesMaster" Target="notesMasters/notesMaster1.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Master" Target="slideMasters/slideMaster1.xml"/><Relationship Id="rId75" Type="http://schemas.openxmlformats.org/officeDocument/2006/relationships/slide" Target="slides/slide5.xml"/><Relationship Id="rId83" Type="http://schemas.openxmlformats.org/officeDocument/2006/relationships/slide" Target="slides/slide13.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3.xml"/><Relationship Id="rId78" Type="http://schemas.openxmlformats.org/officeDocument/2006/relationships/slide" Target="slides/slide8.xml"/><Relationship Id="rId81" Type="http://schemas.openxmlformats.org/officeDocument/2006/relationships/slide" Target="slides/slide11.xml"/><Relationship Id="rId86" Type="http://schemas.openxmlformats.org/officeDocument/2006/relationships/handoutMaster" Target="handoutMasters/handoutMaster1.xml"/><Relationship Id="rId94"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6.xml"/><Relationship Id="rId7" Type="http://schemas.openxmlformats.org/officeDocument/2006/relationships/customXml" Target="../customXml/item7.xml"/><Relationship Id="rId71" Type="http://schemas.openxmlformats.org/officeDocument/2006/relationships/slide" Target="slides/slide1.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tags" Target="tags/tag1.xml"/><Relationship Id="rId61" Type="http://schemas.openxmlformats.org/officeDocument/2006/relationships/customXml" Target="../customXml/item61.xml"/><Relationship Id="rId82" Type="http://schemas.openxmlformats.org/officeDocument/2006/relationships/slide" Target="slides/slide12.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derame, Laura" userId="c9f7ce73-3914-45e9-b146-61d4329fa8a0" providerId="ADAL" clId="{F9D92940-7780-46B0-B604-9798B9875667}"/>
    <pc:docChg chg="undo redo custSel addSld delSld modSld sldOrd">
      <pc:chgData name="Verderame, Laura" userId="c9f7ce73-3914-45e9-b146-61d4329fa8a0" providerId="ADAL" clId="{F9D92940-7780-46B0-B604-9798B9875667}" dt="2025-01-24T14:43:54.382" v="1653" actId="20577"/>
      <pc:docMkLst>
        <pc:docMk/>
      </pc:docMkLst>
      <pc:sldChg chg="modSp mod">
        <pc:chgData name="Verderame, Laura" userId="c9f7ce73-3914-45e9-b146-61d4329fa8a0" providerId="ADAL" clId="{F9D92940-7780-46B0-B604-9798B9875667}" dt="2025-01-24T14:40:55.754" v="1442" actId="20577"/>
        <pc:sldMkLst>
          <pc:docMk/>
          <pc:sldMk cId="1644816664" sldId="256"/>
        </pc:sldMkLst>
        <pc:spChg chg="mod">
          <ac:chgData name="Verderame, Laura" userId="c9f7ce73-3914-45e9-b146-61d4329fa8a0" providerId="ADAL" clId="{F9D92940-7780-46B0-B604-9798B9875667}" dt="2025-01-24T13:25:17.303" v="0" actId="20577"/>
          <ac:spMkLst>
            <pc:docMk/>
            <pc:sldMk cId="1644816664" sldId="256"/>
            <ac:spMk id="4" creationId="{00000000-0000-0000-0000-000000000000}"/>
          </ac:spMkLst>
        </pc:spChg>
        <pc:spChg chg="mod">
          <ac:chgData name="Verderame, Laura" userId="c9f7ce73-3914-45e9-b146-61d4329fa8a0" providerId="ADAL" clId="{F9D92940-7780-46B0-B604-9798B9875667}" dt="2025-01-24T14:40:55.754" v="1442" actId="20577"/>
          <ac:spMkLst>
            <pc:docMk/>
            <pc:sldMk cId="1644816664" sldId="256"/>
            <ac:spMk id="8" creationId="{00000000-0000-0000-0000-000000000000}"/>
          </ac:spMkLst>
        </pc:spChg>
      </pc:sldChg>
      <pc:sldChg chg="modSp mod">
        <pc:chgData name="Verderame, Laura" userId="c9f7ce73-3914-45e9-b146-61d4329fa8a0" providerId="ADAL" clId="{F9D92940-7780-46B0-B604-9798B9875667}" dt="2025-01-24T13:29:38.317" v="55" actId="5793"/>
        <pc:sldMkLst>
          <pc:docMk/>
          <pc:sldMk cId="2723922658" sldId="293"/>
        </pc:sldMkLst>
      </pc:sldChg>
      <pc:sldChg chg="modSp mod">
        <pc:chgData name="Verderame, Laura" userId="c9f7ce73-3914-45e9-b146-61d4329fa8a0" providerId="ADAL" clId="{F9D92940-7780-46B0-B604-9798B9875667}" dt="2025-01-24T13:29:30.200" v="49" actId="20577"/>
        <pc:sldMkLst>
          <pc:docMk/>
          <pc:sldMk cId="2276422264" sldId="294"/>
        </pc:sldMkLst>
        <pc:spChg chg="mod">
          <ac:chgData name="Verderame, Laura" userId="c9f7ce73-3914-45e9-b146-61d4329fa8a0" providerId="ADAL" clId="{F9D92940-7780-46B0-B604-9798B9875667}" dt="2025-01-24T13:29:30.200" v="49" actId="20577"/>
          <ac:spMkLst>
            <pc:docMk/>
            <pc:sldMk cId="2276422264" sldId="294"/>
            <ac:spMk id="2" creationId="{00000000-0000-0000-0000-000000000000}"/>
          </ac:spMkLst>
        </pc:spChg>
      </pc:sldChg>
      <pc:sldChg chg="addSp delSp modSp add mod">
        <pc:chgData name="Verderame, Laura" userId="c9f7ce73-3914-45e9-b146-61d4329fa8a0" providerId="ADAL" clId="{F9D92940-7780-46B0-B604-9798B9875667}" dt="2025-01-24T14:42:59.436" v="1543" actId="20577"/>
        <pc:sldMkLst>
          <pc:docMk/>
          <pc:sldMk cId="795699475" sldId="302"/>
        </pc:sldMkLst>
        <pc:spChg chg="add mod">
          <ac:chgData name="Verderame, Laura" userId="c9f7ce73-3914-45e9-b146-61d4329fa8a0" providerId="ADAL" clId="{F9D92940-7780-46B0-B604-9798B9875667}" dt="2025-01-24T14:32:20.867" v="1192" actId="1076"/>
          <ac:spMkLst>
            <pc:docMk/>
            <pc:sldMk cId="795699475" sldId="302"/>
            <ac:spMk id="7" creationId="{A9A801B8-19FE-BA1F-C0E2-F9E9A6C04BDB}"/>
          </ac:spMkLst>
        </pc:spChg>
        <pc:spChg chg="mod">
          <ac:chgData name="Verderame, Laura" userId="c9f7ce73-3914-45e9-b146-61d4329fa8a0" providerId="ADAL" clId="{F9D92940-7780-46B0-B604-9798B9875667}" dt="2025-01-24T14:26:29.825" v="1064" actId="14100"/>
          <ac:spMkLst>
            <pc:docMk/>
            <pc:sldMk cId="795699475" sldId="302"/>
            <ac:spMk id="23" creationId="{042E20F3-56EE-8681-7AA2-180DF04D03D2}"/>
          </ac:spMkLst>
        </pc:spChg>
        <pc:spChg chg="mod">
          <ac:chgData name="Verderame, Laura" userId="c9f7ce73-3914-45e9-b146-61d4329fa8a0" providerId="ADAL" clId="{F9D92940-7780-46B0-B604-9798B9875667}" dt="2025-01-24T14:26:40.729" v="1068" actId="1035"/>
          <ac:spMkLst>
            <pc:docMk/>
            <pc:sldMk cId="795699475" sldId="302"/>
            <ac:spMk id="25" creationId="{5E4B2048-F2AB-DF84-AE47-A717B2FC9A6E}"/>
          </ac:spMkLst>
        </pc:spChg>
        <pc:spChg chg="mod">
          <ac:chgData name="Verderame, Laura" userId="c9f7ce73-3914-45e9-b146-61d4329fa8a0" providerId="ADAL" clId="{F9D92940-7780-46B0-B604-9798B9875667}" dt="2025-01-24T14:42:59.436" v="1543" actId="20577"/>
          <ac:spMkLst>
            <pc:docMk/>
            <pc:sldMk cId="795699475" sldId="302"/>
            <ac:spMk id="27" creationId="{77FBA4A6-5D3E-088C-4374-11CE4C372B32}"/>
          </ac:spMkLst>
        </pc:spChg>
        <pc:spChg chg="mod">
          <ac:chgData name="Verderame, Laura" userId="c9f7ce73-3914-45e9-b146-61d4329fa8a0" providerId="ADAL" clId="{F9D92940-7780-46B0-B604-9798B9875667}" dt="2025-01-24T14:26:23.962" v="1062" actId="1076"/>
          <ac:spMkLst>
            <pc:docMk/>
            <pc:sldMk cId="795699475" sldId="302"/>
            <ac:spMk id="28" creationId="{5F1FF7B1-B040-474E-DDD2-AE70A9E38310}"/>
          </ac:spMkLst>
        </pc:spChg>
        <pc:spChg chg="mod">
          <ac:chgData name="Verderame, Laura" userId="c9f7ce73-3914-45e9-b146-61d4329fa8a0" providerId="ADAL" clId="{F9D92940-7780-46B0-B604-9798B9875667}" dt="2025-01-24T14:25:46.476" v="1048" actId="14100"/>
          <ac:spMkLst>
            <pc:docMk/>
            <pc:sldMk cId="795699475" sldId="302"/>
            <ac:spMk id="30" creationId="{7A0AD7B4-64D8-EF2C-B536-EA6251D79699}"/>
          </ac:spMkLst>
        </pc:spChg>
        <pc:spChg chg="mod">
          <ac:chgData name="Verderame, Laura" userId="c9f7ce73-3914-45e9-b146-61d4329fa8a0" providerId="ADAL" clId="{F9D92940-7780-46B0-B604-9798B9875667}" dt="2025-01-24T14:26:15.478" v="1058" actId="1076"/>
          <ac:spMkLst>
            <pc:docMk/>
            <pc:sldMk cId="795699475" sldId="302"/>
            <ac:spMk id="40" creationId="{7078E4A6-2781-9CF9-3072-1E4AA48222BB}"/>
          </ac:spMkLst>
        </pc:spChg>
        <pc:spChg chg="mod">
          <ac:chgData name="Verderame, Laura" userId="c9f7ce73-3914-45e9-b146-61d4329fa8a0" providerId="ADAL" clId="{F9D92940-7780-46B0-B604-9798B9875667}" dt="2025-01-24T14:25:27.046" v="1044" actId="1038"/>
          <ac:spMkLst>
            <pc:docMk/>
            <pc:sldMk cId="795699475" sldId="302"/>
            <ac:spMk id="42" creationId="{688B17EC-D8E9-F003-E528-147928F7B7AA}"/>
          </ac:spMkLst>
        </pc:spChg>
        <pc:cxnChg chg="mod">
          <ac:chgData name="Verderame, Laura" userId="c9f7ce73-3914-45e9-b146-61d4329fa8a0" providerId="ADAL" clId="{F9D92940-7780-46B0-B604-9798B9875667}" dt="2025-01-24T14:25:33.064" v="1045" actId="14100"/>
          <ac:cxnSpMkLst>
            <pc:docMk/>
            <pc:sldMk cId="795699475" sldId="302"/>
            <ac:cxnSpMk id="16" creationId="{B7C122B4-01DC-7176-BA92-07B7E13440A6}"/>
          </ac:cxnSpMkLst>
        </pc:cxnChg>
        <pc:cxnChg chg="mod">
          <ac:chgData name="Verderame, Laura" userId="c9f7ce73-3914-45e9-b146-61d4329fa8a0" providerId="ADAL" clId="{F9D92940-7780-46B0-B604-9798B9875667}" dt="2025-01-24T14:26:13.012" v="1057" actId="14100"/>
          <ac:cxnSpMkLst>
            <pc:docMk/>
            <pc:sldMk cId="795699475" sldId="302"/>
            <ac:cxnSpMk id="20" creationId="{13656184-DAE5-BA7F-5C8B-A4D1948EE728}"/>
          </ac:cxnSpMkLst>
        </pc:cxnChg>
        <pc:cxnChg chg="mod">
          <ac:chgData name="Verderame, Laura" userId="c9f7ce73-3914-45e9-b146-61d4329fa8a0" providerId="ADAL" clId="{F9D92940-7780-46B0-B604-9798B9875667}" dt="2025-01-24T14:25:42.548" v="1047" actId="1076"/>
          <ac:cxnSpMkLst>
            <pc:docMk/>
            <pc:sldMk cId="795699475" sldId="302"/>
            <ac:cxnSpMk id="29" creationId="{329486FB-E95D-DA3F-25E1-5C5D9A1F89D8}"/>
          </ac:cxnSpMkLst>
        </pc:cxnChg>
      </pc:sldChg>
      <pc:sldChg chg="modSp del mod ord">
        <pc:chgData name="Verderame, Laura" userId="c9f7ce73-3914-45e9-b146-61d4329fa8a0" providerId="ADAL" clId="{F9D92940-7780-46B0-B604-9798B9875667}" dt="2025-01-24T13:48:37.600" v="331" actId="47"/>
        <pc:sldMkLst>
          <pc:docMk/>
          <pc:sldMk cId="3321822238" sldId="380"/>
        </pc:sldMkLst>
      </pc:sldChg>
      <pc:sldChg chg="del">
        <pc:chgData name="Verderame, Laura" userId="c9f7ce73-3914-45e9-b146-61d4329fa8a0" providerId="ADAL" clId="{F9D92940-7780-46B0-B604-9798B9875667}" dt="2025-01-24T13:28:34.688" v="16" actId="47"/>
        <pc:sldMkLst>
          <pc:docMk/>
          <pc:sldMk cId="948588143" sldId="394"/>
        </pc:sldMkLst>
      </pc:sldChg>
      <pc:sldChg chg="addSp delSp modSp mod">
        <pc:chgData name="Verderame, Laura" userId="c9f7ce73-3914-45e9-b146-61d4329fa8a0" providerId="ADAL" clId="{F9D92940-7780-46B0-B604-9798B9875667}" dt="2025-01-24T14:31:49.147" v="1186" actId="21"/>
        <pc:sldMkLst>
          <pc:docMk/>
          <pc:sldMk cId="527701164" sldId="1280"/>
        </pc:sldMkLst>
        <pc:spChg chg="mod">
          <ac:chgData name="Verderame, Laura" userId="c9f7ce73-3914-45e9-b146-61d4329fa8a0" providerId="ADAL" clId="{F9D92940-7780-46B0-B604-9798B9875667}" dt="2025-01-24T13:29:04.198" v="45" actId="20577"/>
          <ac:spMkLst>
            <pc:docMk/>
            <pc:sldMk cId="527701164" sldId="1280"/>
            <ac:spMk id="2" creationId="{00000000-0000-0000-0000-000000000000}"/>
          </ac:spMkLst>
        </pc:spChg>
      </pc:sldChg>
      <pc:sldChg chg="modSp add del mod">
        <pc:chgData name="Verderame, Laura" userId="c9f7ce73-3914-45e9-b146-61d4329fa8a0" providerId="ADAL" clId="{F9D92940-7780-46B0-B604-9798B9875667}" dt="2025-01-24T14:06:50.471" v="586" actId="20577"/>
        <pc:sldMkLst>
          <pc:docMk/>
          <pc:sldMk cId="1293832485" sldId="1281"/>
        </pc:sldMkLst>
      </pc:sldChg>
      <pc:sldChg chg="add del">
        <pc:chgData name="Verderame, Laura" userId="c9f7ce73-3914-45e9-b146-61d4329fa8a0" providerId="ADAL" clId="{F9D92940-7780-46B0-B604-9798B9875667}" dt="2025-01-24T13:44:36.900" v="87" actId="47"/>
        <pc:sldMkLst>
          <pc:docMk/>
          <pc:sldMk cId="3265287894" sldId="1282"/>
        </pc:sldMkLst>
      </pc:sldChg>
      <pc:sldChg chg="addSp delSp modSp add mod">
        <pc:chgData name="Verderame, Laura" userId="c9f7ce73-3914-45e9-b146-61d4329fa8a0" providerId="ADAL" clId="{F9D92940-7780-46B0-B604-9798B9875667}" dt="2025-01-24T14:09:11.853" v="592" actId="6549"/>
        <pc:sldMkLst>
          <pc:docMk/>
          <pc:sldMk cId="234011112" sldId="1283"/>
        </pc:sldMkLst>
      </pc:sldChg>
      <pc:sldChg chg="addSp delSp modSp add del mod">
        <pc:chgData name="Verderame, Laura" userId="c9f7ce73-3914-45e9-b146-61d4329fa8a0" providerId="ADAL" clId="{F9D92940-7780-46B0-B604-9798B9875667}" dt="2025-01-24T14:08:34.169" v="587" actId="47"/>
        <pc:sldMkLst>
          <pc:docMk/>
          <pc:sldMk cId="66958285" sldId="1284"/>
        </pc:sldMkLst>
      </pc:sldChg>
      <pc:sldChg chg="addSp delSp modSp new mod modClrScheme chgLayout">
        <pc:chgData name="Verderame, Laura" userId="c9f7ce73-3914-45e9-b146-61d4329fa8a0" providerId="ADAL" clId="{F9D92940-7780-46B0-B604-9798B9875667}" dt="2025-01-24T14:24:31.030" v="1031" actId="20577"/>
        <pc:sldMkLst>
          <pc:docMk/>
          <pc:sldMk cId="1366394208" sldId="1284"/>
        </pc:sldMkLst>
      </pc:sldChg>
      <pc:sldChg chg="addSp delSp modSp add mod modNotesTx">
        <pc:chgData name="Verderame, Laura" userId="c9f7ce73-3914-45e9-b146-61d4329fa8a0" providerId="ADAL" clId="{F9D92940-7780-46B0-B604-9798B9875667}" dt="2025-01-24T14:43:54.382" v="1653" actId="20577"/>
        <pc:sldMkLst>
          <pc:docMk/>
          <pc:sldMk cId="648499665" sldId="1285"/>
        </pc:sldMkLst>
        <pc:spChg chg="mod">
          <ac:chgData name="Verderame, Laura" userId="c9f7ce73-3914-45e9-b146-61d4329fa8a0" providerId="ADAL" clId="{F9D92940-7780-46B0-B604-9798B9875667}" dt="2025-01-24T14:43:54.382" v="1653" actId="20577"/>
          <ac:spMkLst>
            <pc:docMk/>
            <pc:sldMk cId="648499665" sldId="1285"/>
            <ac:spMk id="9" creationId="{6EBE607D-DC04-FB23-9CD0-1B87D9424F10}"/>
          </ac:spMkLst>
        </pc:spChg>
        <pc:spChg chg="add mod">
          <ac:chgData name="Verderame, Laura" userId="c9f7ce73-3914-45e9-b146-61d4329fa8a0" providerId="ADAL" clId="{F9D92940-7780-46B0-B604-9798B9875667}" dt="2025-01-24T14:35:41.129" v="1360" actId="1076"/>
          <ac:spMkLst>
            <pc:docMk/>
            <pc:sldMk cId="648499665" sldId="1285"/>
            <ac:spMk id="34" creationId="{3E3BA3E8-5DC1-0A1E-C063-22BF9966E4B9}"/>
          </ac:spMkLst>
        </pc:spChg>
        <pc:spChg chg="add mod">
          <ac:chgData name="Verderame, Laura" userId="c9f7ce73-3914-45e9-b146-61d4329fa8a0" providerId="ADAL" clId="{F9D92940-7780-46B0-B604-9798B9875667}" dt="2025-01-24T14:36:39.857" v="1377" actId="403"/>
          <ac:spMkLst>
            <pc:docMk/>
            <pc:sldMk cId="648499665" sldId="1285"/>
            <ac:spMk id="35" creationId="{CC993B87-B087-08E5-C67D-84ECD7E85FEF}"/>
          </ac:spMkLst>
        </pc:spChg>
        <pc:graphicFrameChg chg="add mod">
          <ac:chgData name="Verderame, Laura" userId="c9f7ce73-3914-45e9-b146-61d4329fa8a0" providerId="ADAL" clId="{F9D92940-7780-46B0-B604-9798B9875667}" dt="2025-01-24T14:35:34.900" v="1359"/>
          <ac:graphicFrameMkLst>
            <pc:docMk/>
            <pc:sldMk cId="648499665" sldId="1285"/>
            <ac:graphicFrameMk id="47" creationId="{FE73F535-9520-4A42-910E-A6E6369420BF}"/>
          </ac:graphicFrameMkLst>
        </pc:graphicFrameChg>
      </pc:sldChg>
    </pc:docChg>
  </pc:docChgLst>
  <pc:docChgLst>
    <pc:chgData name="Verderame, Laura" userId="c9f7ce73-3914-45e9-b146-61d4329fa8a0" providerId="ADAL" clId="{911ADA6C-75C9-4582-BA96-3BFC5A168BCA}"/>
    <pc:docChg chg="undo custSel addSld delSld modSld">
      <pc:chgData name="Verderame, Laura" userId="c9f7ce73-3914-45e9-b146-61d4329fa8a0" providerId="ADAL" clId="{911ADA6C-75C9-4582-BA96-3BFC5A168BCA}" dt="2025-03-10T17:38:28.539" v="103" actId="14100"/>
      <pc:docMkLst>
        <pc:docMk/>
      </pc:docMkLst>
      <pc:sldChg chg="del">
        <pc:chgData name="Verderame, Laura" userId="c9f7ce73-3914-45e9-b146-61d4329fa8a0" providerId="ADAL" clId="{911ADA6C-75C9-4582-BA96-3BFC5A168BCA}" dt="2025-03-05T18:45:59.122" v="5" actId="47"/>
        <pc:sldMkLst>
          <pc:docMk/>
          <pc:sldMk cId="2723922658" sldId="293"/>
        </pc:sldMkLst>
      </pc:sldChg>
      <pc:sldChg chg="modSp mod">
        <pc:chgData name="Verderame, Laura" userId="c9f7ce73-3914-45e9-b146-61d4329fa8a0" providerId="ADAL" clId="{911ADA6C-75C9-4582-BA96-3BFC5A168BCA}" dt="2025-03-10T13:17:14.919" v="19" actId="20577"/>
        <pc:sldMkLst>
          <pc:docMk/>
          <pc:sldMk cId="3042050149" sldId="297"/>
        </pc:sldMkLst>
        <pc:spChg chg="mod">
          <ac:chgData name="Verderame, Laura" userId="c9f7ce73-3914-45e9-b146-61d4329fa8a0" providerId="ADAL" clId="{911ADA6C-75C9-4582-BA96-3BFC5A168BCA}" dt="2025-03-10T13:17:14.919" v="19" actId="20577"/>
          <ac:spMkLst>
            <pc:docMk/>
            <pc:sldMk cId="3042050149" sldId="297"/>
            <ac:spMk id="3" creationId="{00000000-0000-0000-0000-000000000000}"/>
          </ac:spMkLst>
        </pc:spChg>
      </pc:sldChg>
      <pc:sldChg chg="modSp mod">
        <pc:chgData name="Verderame, Laura" userId="c9f7ce73-3914-45e9-b146-61d4329fa8a0" providerId="ADAL" clId="{911ADA6C-75C9-4582-BA96-3BFC5A168BCA}" dt="2025-03-10T17:38:28.539" v="103" actId="14100"/>
        <pc:sldMkLst>
          <pc:docMk/>
          <pc:sldMk cId="795699475" sldId="302"/>
        </pc:sldMkLst>
        <pc:spChg chg="mod">
          <ac:chgData name="Verderame, Laura" userId="c9f7ce73-3914-45e9-b146-61d4329fa8a0" providerId="ADAL" clId="{911ADA6C-75C9-4582-BA96-3BFC5A168BCA}" dt="2025-03-10T17:38:28.539" v="103" actId="14100"/>
          <ac:spMkLst>
            <pc:docMk/>
            <pc:sldMk cId="795699475" sldId="302"/>
            <ac:spMk id="7" creationId="{A9A801B8-19FE-BA1F-C0E2-F9E9A6C04BDB}"/>
          </ac:spMkLst>
        </pc:spChg>
      </pc:sldChg>
      <pc:sldChg chg="modSp mod">
        <pc:chgData name="Verderame, Laura" userId="c9f7ce73-3914-45e9-b146-61d4329fa8a0" providerId="ADAL" clId="{911ADA6C-75C9-4582-BA96-3BFC5A168BCA}" dt="2025-03-05T18:42:02.023" v="4" actId="1076"/>
        <pc:sldMkLst>
          <pc:docMk/>
          <pc:sldMk cId="4185844908" sldId="336"/>
        </pc:sldMkLst>
        <pc:spChg chg="mod">
          <ac:chgData name="Verderame, Laura" userId="c9f7ce73-3914-45e9-b146-61d4329fa8a0" providerId="ADAL" clId="{911ADA6C-75C9-4582-BA96-3BFC5A168BCA}" dt="2025-03-05T18:42:02.023" v="4" actId="1076"/>
          <ac:spMkLst>
            <pc:docMk/>
            <pc:sldMk cId="4185844908" sldId="336"/>
            <ac:spMk id="8" creationId="{B6C59A82-A450-F1E2-2740-1D69BFD1A7BC}"/>
          </ac:spMkLst>
        </pc:spChg>
      </pc:sldChg>
      <pc:sldChg chg="modSp mod">
        <pc:chgData name="Verderame, Laura" userId="c9f7ce73-3914-45e9-b146-61d4329fa8a0" providerId="ADAL" clId="{911ADA6C-75C9-4582-BA96-3BFC5A168BCA}" dt="2025-03-10T17:37:43.635" v="92" actId="1076"/>
        <pc:sldMkLst>
          <pc:docMk/>
          <pc:sldMk cId="527701164" sldId="1280"/>
        </pc:sldMkLst>
        <pc:spChg chg="mod">
          <ac:chgData name="Verderame, Laura" userId="c9f7ce73-3914-45e9-b146-61d4329fa8a0" providerId="ADAL" clId="{911ADA6C-75C9-4582-BA96-3BFC5A168BCA}" dt="2025-03-10T17:37:43.635" v="92" actId="1076"/>
          <ac:spMkLst>
            <pc:docMk/>
            <pc:sldMk cId="527701164" sldId="1280"/>
            <ac:spMk id="16" creationId="{00000000-0000-0000-0000-000000000000}"/>
          </ac:spMkLst>
        </pc:spChg>
      </pc:sldChg>
      <pc:sldChg chg="del">
        <pc:chgData name="Verderame, Laura" userId="c9f7ce73-3914-45e9-b146-61d4329fa8a0" providerId="ADAL" clId="{911ADA6C-75C9-4582-BA96-3BFC5A168BCA}" dt="2025-03-05T18:37:28.411" v="0" actId="47"/>
        <pc:sldMkLst>
          <pc:docMk/>
          <pc:sldMk cId="591929439" sldId="1298"/>
        </pc:sldMkLst>
      </pc:sldChg>
      <pc:sldChg chg="addSp delSp modSp mod modNotesTx">
        <pc:chgData name="Verderame, Laura" userId="c9f7ce73-3914-45e9-b146-61d4329fa8a0" providerId="ADAL" clId="{911ADA6C-75C9-4582-BA96-3BFC5A168BCA}" dt="2025-03-10T17:36:06.856" v="82" actId="20577"/>
        <pc:sldMkLst>
          <pc:docMk/>
          <pc:sldMk cId="3716967039" sldId="1299"/>
        </pc:sldMkLst>
        <pc:spChg chg="mod">
          <ac:chgData name="Verderame, Laura" userId="c9f7ce73-3914-45e9-b146-61d4329fa8a0" providerId="ADAL" clId="{911ADA6C-75C9-4582-BA96-3BFC5A168BCA}" dt="2025-03-10T17:33:48.882" v="59" actId="1076"/>
          <ac:spMkLst>
            <pc:docMk/>
            <pc:sldMk cId="3716967039" sldId="1299"/>
            <ac:spMk id="11" creationId="{494B80E3-0132-F4DF-7894-9317900DB575}"/>
          </ac:spMkLst>
        </pc:spChg>
        <pc:picChg chg="add mod ord modCrop">
          <ac:chgData name="Verderame, Laura" userId="c9f7ce73-3914-45e9-b146-61d4329fa8a0" providerId="ADAL" clId="{911ADA6C-75C9-4582-BA96-3BFC5A168BCA}" dt="2025-03-10T17:33:07.057" v="51" actId="1076"/>
          <ac:picMkLst>
            <pc:docMk/>
            <pc:sldMk cId="3716967039" sldId="1299"/>
            <ac:picMk id="9" creationId="{8449DEEA-955C-7783-657D-4F0571451DD0}"/>
          </ac:picMkLst>
        </pc:picChg>
      </pc:sldChg>
      <pc:sldChg chg="modSp mod">
        <pc:chgData name="Verderame, Laura" userId="c9f7ce73-3914-45e9-b146-61d4329fa8a0" providerId="ADAL" clId="{911ADA6C-75C9-4582-BA96-3BFC5A168BCA}" dt="2025-03-10T17:34:40.374" v="66" actId="20577"/>
        <pc:sldMkLst>
          <pc:docMk/>
          <pc:sldMk cId="279031372" sldId="1301"/>
        </pc:sldMkLst>
        <pc:spChg chg="mod">
          <ac:chgData name="Verderame, Laura" userId="c9f7ce73-3914-45e9-b146-61d4329fa8a0" providerId="ADAL" clId="{911ADA6C-75C9-4582-BA96-3BFC5A168BCA}" dt="2025-03-10T17:34:40.374" v="66" actId="20577"/>
          <ac:spMkLst>
            <pc:docMk/>
            <pc:sldMk cId="279031372" sldId="1301"/>
            <ac:spMk id="6" creationId="{00000000-0000-0000-0000-000000000000}"/>
          </ac:spMkLst>
        </pc:spChg>
        <pc:spChg chg="mod">
          <ac:chgData name="Verderame, Laura" userId="c9f7ce73-3914-45e9-b146-61d4329fa8a0" providerId="ADAL" clId="{911ADA6C-75C9-4582-BA96-3BFC5A168BCA}" dt="2025-03-05T20:02:39.805" v="15" actId="20577"/>
          <ac:spMkLst>
            <pc:docMk/>
            <pc:sldMk cId="279031372" sldId="1301"/>
            <ac:spMk id="14" creationId="{77B289D0-AAA9-29B9-F169-B7DDDB144ECB}"/>
          </ac:spMkLst>
        </pc:spChg>
      </pc:sldChg>
      <pc:sldChg chg="del">
        <pc:chgData name="Verderame, Laura" userId="c9f7ce73-3914-45e9-b146-61d4329fa8a0" providerId="ADAL" clId="{911ADA6C-75C9-4582-BA96-3BFC5A168BCA}" dt="2025-03-05T18:37:28.411" v="0" actId="47"/>
        <pc:sldMkLst>
          <pc:docMk/>
          <pc:sldMk cId="3021036480" sldId="1302"/>
        </pc:sldMkLst>
      </pc:sldChg>
      <pc:sldChg chg="add del">
        <pc:chgData name="Verderame, Laura" userId="c9f7ce73-3914-45e9-b146-61d4329fa8a0" providerId="ADAL" clId="{911ADA6C-75C9-4582-BA96-3BFC5A168BCA}" dt="2025-03-10T17:35:18.512" v="68"/>
        <pc:sldMkLst>
          <pc:docMk/>
          <pc:sldMk cId="3082812488" sldId="1302"/>
        </pc:sldMkLst>
      </pc:sldChg>
    </pc:docChg>
  </pc:docChgLst>
  <pc:docChgLst>
    <pc:chgData name="Verderame, Laura" userId="c9f7ce73-3914-45e9-b146-61d4329fa8a0" providerId="ADAL" clId="{E6081E7E-D5C9-4ACB-8530-B55232F26E34}"/>
    <pc:docChg chg="undo custSel modSld">
      <pc:chgData name="Verderame, Laura" userId="c9f7ce73-3914-45e9-b146-61d4329fa8a0" providerId="ADAL" clId="{E6081E7E-D5C9-4ACB-8530-B55232F26E34}" dt="2025-03-12T02:51:03.412" v="101" actId="408"/>
      <pc:docMkLst>
        <pc:docMk/>
      </pc:docMkLst>
      <pc:sldChg chg="modSp mod">
        <pc:chgData name="Verderame, Laura" userId="c9f7ce73-3914-45e9-b146-61d4329fa8a0" providerId="ADAL" clId="{E6081E7E-D5C9-4ACB-8530-B55232F26E34}" dt="2025-03-11T16:41:34.863" v="80" actId="113"/>
        <pc:sldMkLst>
          <pc:docMk/>
          <pc:sldMk cId="3042050149" sldId="297"/>
        </pc:sldMkLst>
        <pc:spChg chg="mod">
          <ac:chgData name="Verderame, Laura" userId="c9f7ce73-3914-45e9-b146-61d4329fa8a0" providerId="ADAL" clId="{E6081E7E-D5C9-4ACB-8530-B55232F26E34}" dt="2025-03-11T16:41:34.863" v="80" actId="113"/>
          <ac:spMkLst>
            <pc:docMk/>
            <pc:sldMk cId="3042050149" sldId="297"/>
            <ac:spMk id="3" creationId="{00000000-0000-0000-0000-000000000000}"/>
          </ac:spMkLst>
        </pc:spChg>
      </pc:sldChg>
      <pc:sldChg chg="modSp mod">
        <pc:chgData name="Verderame, Laura" userId="c9f7ce73-3914-45e9-b146-61d4329fa8a0" providerId="ADAL" clId="{E6081E7E-D5C9-4ACB-8530-B55232F26E34}" dt="2025-03-11T16:39:49.630" v="66" actId="20577"/>
        <pc:sldMkLst>
          <pc:docMk/>
          <pc:sldMk cId="795699475" sldId="302"/>
        </pc:sldMkLst>
        <pc:spChg chg="mod">
          <ac:chgData name="Verderame, Laura" userId="c9f7ce73-3914-45e9-b146-61d4329fa8a0" providerId="ADAL" clId="{E6081E7E-D5C9-4ACB-8530-B55232F26E34}" dt="2025-03-11T16:39:49.630" v="66" actId="20577"/>
          <ac:spMkLst>
            <pc:docMk/>
            <pc:sldMk cId="795699475" sldId="302"/>
            <ac:spMk id="27" creationId="{77FBA4A6-5D3E-088C-4374-11CE4C372B32}"/>
          </ac:spMkLst>
        </pc:spChg>
      </pc:sldChg>
      <pc:sldChg chg="addSp delSp modSp mod">
        <pc:chgData name="Verderame, Laura" userId="c9f7ce73-3914-45e9-b146-61d4329fa8a0" providerId="ADAL" clId="{E6081E7E-D5C9-4ACB-8530-B55232F26E34}" dt="2025-03-12T02:51:03.412" v="101" actId="408"/>
        <pc:sldMkLst>
          <pc:docMk/>
          <pc:sldMk cId="4185844908" sldId="336"/>
        </pc:sldMkLst>
        <pc:picChg chg="add mod">
          <ac:chgData name="Verderame, Laura" userId="c9f7ce73-3914-45e9-b146-61d4329fa8a0" providerId="ADAL" clId="{E6081E7E-D5C9-4ACB-8530-B55232F26E34}" dt="2025-03-12T02:51:03.412" v="101" actId="408"/>
          <ac:picMkLst>
            <pc:docMk/>
            <pc:sldMk cId="4185844908" sldId="336"/>
            <ac:picMk id="3" creationId="{EA219105-FE89-5094-4FDE-4FFD9A62531E}"/>
          </ac:picMkLst>
        </pc:picChg>
        <pc:picChg chg="add mod">
          <ac:chgData name="Verderame, Laura" userId="c9f7ce73-3914-45e9-b146-61d4329fa8a0" providerId="ADAL" clId="{E6081E7E-D5C9-4ACB-8530-B55232F26E34}" dt="2025-03-12T02:51:03.412" v="101" actId="408"/>
          <ac:picMkLst>
            <pc:docMk/>
            <pc:sldMk cId="4185844908" sldId="336"/>
            <ac:picMk id="5" creationId="{45BC9E34-38F0-2556-F666-3747D853AEF3}"/>
          </ac:picMkLst>
        </pc:picChg>
        <pc:picChg chg="mod">
          <ac:chgData name="Verderame, Laura" userId="c9f7ce73-3914-45e9-b146-61d4329fa8a0" providerId="ADAL" clId="{E6081E7E-D5C9-4ACB-8530-B55232F26E34}" dt="2025-03-12T02:51:03.412" v="101" actId="408"/>
          <ac:picMkLst>
            <pc:docMk/>
            <pc:sldMk cId="4185844908" sldId="336"/>
            <ac:picMk id="15" creationId="{00000000-0000-0000-0000-000000000000}"/>
          </ac:picMkLst>
        </pc:picChg>
        <pc:picChg chg="mod">
          <ac:chgData name="Verderame, Laura" userId="c9f7ce73-3914-45e9-b146-61d4329fa8a0" providerId="ADAL" clId="{E6081E7E-D5C9-4ACB-8530-B55232F26E34}" dt="2025-03-12T02:51:03.412" v="101" actId="408"/>
          <ac:picMkLst>
            <pc:docMk/>
            <pc:sldMk cId="4185844908" sldId="336"/>
            <ac:picMk id="19" creationId="{78C8DBFB-B131-8422-39BF-66A8B440E25D}"/>
          </ac:picMkLst>
        </pc:picChg>
      </pc:sldChg>
      <pc:sldChg chg="addSp delSp modSp mod">
        <pc:chgData name="Verderame, Laura" userId="c9f7ce73-3914-45e9-b146-61d4329fa8a0" providerId="ADAL" clId="{E6081E7E-D5C9-4ACB-8530-B55232F26E34}" dt="2025-03-11T16:36:22.734" v="65" actId="1076"/>
        <pc:sldMkLst>
          <pc:docMk/>
          <pc:sldMk cId="527701164" sldId="1280"/>
        </pc:sldMkLst>
        <pc:spChg chg="mod">
          <ac:chgData name="Verderame, Laura" userId="c9f7ce73-3914-45e9-b146-61d4329fa8a0" providerId="ADAL" clId="{E6081E7E-D5C9-4ACB-8530-B55232F26E34}" dt="2025-03-11T16:36:22.734" v="65" actId="1076"/>
          <ac:spMkLst>
            <pc:docMk/>
            <pc:sldMk cId="527701164" sldId="1280"/>
            <ac:spMk id="16" creationId="{00000000-0000-0000-0000-000000000000}"/>
          </ac:spMkLst>
        </pc:spChg>
        <pc:spChg chg="mod">
          <ac:chgData name="Verderame, Laura" userId="c9f7ce73-3914-45e9-b146-61d4329fa8a0" providerId="ADAL" clId="{E6081E7E-D5C9-4ACB-8530-B55232F26E34}" dt="2025-03-11T16:35:15.946" v="54" actId="14100"/>
          <ac:spMkLst>
            <pc:docMk/>
            <pc:sldMk cId="527701164" sldId="1280"/>
            <ac:spMk id="28" creationId="{995C520B-2FFC-534B-1504-B1C428525970}"/>
          </ac:spMkLst>
        </pc:spChg>
        <pc:graphicFrameChg chg="add mod">
          <ac:chgData name="Verderame, Laura" userId="c9f7ce73-3914-45e9-b146-61d4329fa8a0" providerId="ADAL" clId="{E6081E7E-D5C9-4ACB-8530-B55232F26E34}" dt="2025-03-11T16:36:12.578" v="62" actId="167"/>
          <ac:graphicFrameMkLst>
            <pc:docMk/>
            <pc:sldMk cId="527701164" sldId="1280"/>
            <ac:graphicFrameMk id="9" creationId="{71E56FDB-4044-2957-D326-EB960F34F6A1}"/>
          </ac:graphicFrameMkLst>
        </pc:graphicFrameChg>
      </pc:sldChg>
      <pc:sldChg chg="modSp mod">
        <pc:chgData name="Verderame, Laura" userId="c9f7ce73-3914-45e9-b146-61d4329fa8a0" providerId="ADAL" clId="{E6081E7E-D5C9-4ACB-8530-B55232F26E34}" dt="2025-03-11T16:23:18.689" v="38" actId="20577"/>
        <pc:sldMkLst>
          <pc:docMk/>
          <pc:sldMk cId="648499665" sldId="1285"/>
        </pc:sldMkLst>
        <pc:spChg chg="mod">
          <ac:chgData name="Verderame, Laura" userId="c9f7ce73-3914-45e9-b146-61d4329fa8a0" providerId="ADAL" clId="{E6081E7E-D5C9-4ACB-8530-B55232F26E34}" dt="2025-03-11T16:23:18.689" v="38" actId="20577"/>
          <ac:spMkLst>
            <pc:docMk/>
            <pc:sldMk cId="648499665" sldId="1285"/>
            <ac:spMk id="9" creationId="{6EBE607D-DC04-FB23-9CD0-1B87D9424F10}"/>
          </ac:spMkLst>
        </pc:spChg>
      </pc:sldChg>
      <pc:sldChg chg="modSp mod">
        <pc:chgData name="Verderame, Laura" userId="c9f7ce73-3914-45e9-b146-61d4329fa8a0" providerId="ADAL" clId="{E6081E7E-D5C9-4ACB-8530-B55232F26E34}" dt="2025-03-11T16:21:49.445" v="22" actId="14100"/>
        <pc:sldMkLst>
          <pc:docMk/>
          <pc:sldMk cId="3716967039" sldId="1299"/>
        </pc:sldMkLst>
        <pc:spChg chg="mod">
          <ac:chgData name="Verderame, Laura" userId="c9f7ce73-3914-45e9-b146-61d4329fa8a0" providerId="ADAL" clId="{E6081E7E-D5C9-4ACB-8530-B55232F26E34}" dt="2025-03-11T16:21:49.445" v="22" actId="14100"/>
          <ac:spMkLst>
            <pc:docMk/>
            <pc:sldMk cId="3716967039" sldId="1299"/>
            <ac:spMk id="15" creationId="{5B10CFF4-18A9-6E82-EAB9-EA9600DC352B}"/>
          </ac:spMkLst>
        </pc:spChg>
      </pc:sldChg>
    </pc:docChg>
  </pc:docChgLst>
  <pc:docChgLst>
    <pc:chgData name="Verderame, Laura" userId="c9f7ce73-3914-45e9-b146-61d4329fa8a0" providerId="ADAL" clId="{D32D4948-2773-41CA-A750-6DBEA6D61305}"/>
    <pc:docChg chg="undo redo custSel addSld delSld modSld">
      <pc:chgData name="Verderame, Laura" userId="c9f7ce73-3914-45e9-b146-61d4329fa8a0" providerId="ADAL" clId="{D32D4948-2773-41CA-A750-6DBEA6D61305}" dt="2024-09-27T18:44:56.974" v="4014" actId="20577"/>
      <pc:docMkLst>
        <pc:docMk/>
      </pc:docMkLst>
      <pc:sldChg chg="modSp mod">
        <pc:chgData name="Verderame, Laura" userId="c9f7ce73-3914-45e9-b146-61d4329fa8a0" providerId="ADAL" clId="{D32D4948-2773-41CA-A750-6DBEA6D61305}" dt="2024-09-24T17:22:28.119" v="3841" actId="20577"/>
        <pc:sldMkLst>
          <pc:docMk/>
          <pc:sldMk cId="1644816664" sldId="256"/>
        </pc:sldMkLst>
      </pc:sldChg>
      <pc:sldChg chg="modSp mod modNotesTx">
        <pc:chgData name="Verderame, Laura" userId="c9f7ce73-3914-45e9-b146-61d4329fa8a0" providerId="ADAL" clId="{D32D4948-2773-41CA-A750-6DBEA6D61305}" dt="2024-09-27T18:44:56.974" v="4014" actId="20577"/>
        <pc:sldMkLst>
          <pc:docMk/>
          <pc:sldMk cId="795699475" sldId="302"/>
        </pc:sldMkLst>
      </pc:sldChg>
      <pc:sldChg chg="delSp modSp mod">
        <pc:chgData name="Verderame, Laura" userId="c9f7ce73-3914-45e9-b146-61d4329fa8a0" providerId="ADAL" clId="{D32D4948-2773-41CA-A750-6DBEA6D61305}" dt="2024-09-24T17:36:59.897" v="4008" actId="478"/>
        <pc:sldMkLst>
          <pc:docMk/>
          <pc:sldMk cId="1049883835" sldId="387"/>
        </pc:sldMkLst>
      </pc:sldChg>
      <pc:sldChg chg="addSp delSp modSp mod">
        <pc:chgData name="Verderame, Laura" userId="c9f7ce73-3914-45e9-b146-61d4329fa8a0" providerId="ADAL" clId="{D32D4948-2773-41CA-A750-6DBEA6D61305}" dt="2024-09-24T17:35:58.565" v="3988" actId="27918"/>
        <pc:sldMkLst>
          <pc:docMk/>
          <pc:sldMk cId="1344270309" sldId="391"/>
        </pc:sldMkLst>
      </pc:sldChg>
      <pc:sldChg chg="addSp delSp modSp new mod modClrScheme chgLayout">
        <pc:chgData name="Verderame, Laura" userId="c9f7ce73-3914-45e9-b146-61d4329fa8a0" providerId="ADAL" clId="{D32D4948-2773-41CA-A750-6DBEA6D61305}" dt="2024-09-10T15:35:39.956" v="30" actId="20577"/>
        <pc:sldMkLst>
          <pc:docMk/>
          <pc:sldMk cId="948588143" sldId="394"/>
        </pc:sldMkLst>
      </pc:sldChg>
      <pc:sldChg chg="addSp delSp modSp new del mod">
        <pc:chgData name="Verderame, Laura" userId="c9f7ce73-3914-45e9-b146-61d4329fa8a0" providerId="ADAL" clId="{D32D4948-2773-41CA-A750-6DBEA6D61305}" dt="2024-09-10T17:04:25.053" v="767" actId="47"/>
        <pc:sldMkLst>
          <pc:docMk/>
          <pc:sldMk cId="2128866805" sldId="395"/>
        </pc:sldMkLst>
      </pc:sldChg>
      <pc:sldChg chg="addSp delSp modSp new del mod">
        <pc:chgData name="Verderame, Laura" userId="c9f7ce73-3914-45e9-b146-61d4329fa8a0" providerId="ADAL" clId="{D32D4948-2773-41CA-A750-6DBEA6D61305}" dt="2024-09-27T18:44:25.031" v="4009" actId="47"/>
        <pc:sldMkLst>
          <pc:docMk/>
          <pc:sldMk cId="2385984585" sldId="396"/>
        </pc:sldMkLst>
      </pc:sldChg>
      <pc:sldChg chg="modSp add del mod">
        <pc:chgData name="Verderame, Laura" userId="c9f7ce73-3914-45e9-b146-61d4329fa8a0" providerId="ADAL" clId="{D32D4948-2773-41CA-A750-6DBEA6D61305}" dt="2024-09-10T15:54:54.148" v="37" actId="14100"/>
        <pc:sldMkLst>
          <pc:docMk/>
          <pc:sldMk cId="1462198432" sldId="1277"/>
        </pc:sldMkLst>
      </pc:sldChg>
      <pc:sldChg chg="addSp delSp modSp add del mod">
        <pc:chgData name="Verderame, Laura" userId="c9f7ce73-3914-45e9-b146-61d4329fa8a0" providerId="ADAL" clId="{D32D4948-2773-41CA-A750-6DBEA6D61305}" dt="2024-09-27T18:44:25.031" v="4009" actId="47"/>
        <pc:sldMkLst>
          <pc:docMk/>
          <pc:sldMk cId="1687116824" sldId="1278"/>
        </pc:sldMkLst>
      </pc:sldChg>
      <pc:sldChg chg="add del">
        <pc:chgData name="Verderame, Laura" userId="c9f7ce73-3914-45e9-b146-61d4329fa8a0" providerId="ADAL" clId="{D32D4948-2773-41CA-A750-6DBEA6D61305}" dt="2024-09-10T17:15:03.738" v="782"/>
        <pc:sldMkLst>
          <pc:docMk/>
          <pc:sldMk cId="521058688" sldId="1279"/>
        </pc:sldMkLst>
      </pc:sldChg>
      <pc:sldChg chg="add del">
        <pc:chgData name="Verderame, Laura" userId="c9f7ce73-3914-45e9-b146-61d4329fa8a0" providerId="ADAL" clId="{D32D4948-2773-41CA-A750-6DBEA6D61305}" dt="2024-09-10T16:51:27.478" v="290" actId="47"/>
        <pc:sldMkLst>
          <pc:docMk/>
          <pc:sldMk cId="971625865" sldId="1279"/>
        </pc:sldMkLst>
      </pc:sldChg>
      <pc:sldChg chg="addSp modSp add del mod">
        <pc:chgData name="Verderame, Laura" userId="c9f7ce73-3914-45e9-b146-61d4329fa8a0" providerId="ADAL" clId="{D32D4948-2773-41CA-A750-6DBEA6D61305}" dt="2024-09-10T17:15:32.976" v="790" actId="47"/>
        <pc:sldMkLst>
          <pc:docMk/>
          <pc:sldMk cId="1378748824" sldId="1279"/>
        </pc:sldMkLst>
      </pc:sldChg>
      <pc:sldChg chg="addSp delSp modSp new del mod">
        <pc:chgData name="Verderame, Laura" userId="c9f7ce73-3914-45e9-b146-61d4329fa8a0" providerId="ADAL" clId="{D32D4948-2773-41CA-A750-6DBEA6D61305}" dt="2024-09-10T18:30:11.944" v="2065" actId="47"/>
        <pc:sldMkLst>
          <pc:docMk/>
          <pc:sldMk cId="4220998309" sldId="1279"/>
        </pc:sldMkLst>
      </pc:sldChg>
      <pc:sldChg chg="addSp delSp modSp add mod">
        <pc:chgData name="Verderame, Laura" userId="c9f7ce73-3914-45e9-b146-61d4329fa8a0" providerId="ADAL" clId="{D32D4948-2773-41CA-A750-6DBEA6D61305}" dt="2024-09-10T19:55:40.808" v="3823" actId="20577"/>
        <pc:sldMkLst>
          <pc:docMk/>
          <pc:sldMk cId="527701164" sldId="1280"/>
        </pc:sldMkLst>
      </pc:sldChg>
      <pc:sldChg chg="addSp delSp modSp new mod">
        <pc:chgData name="Verderame, Laura" userId="c9f7ce73-3914-45e9-b146-61d4329fa8a0" providerId="ADAL" clId="{D32D4948-2773-41CA-A750-6DBEA6D61305}" dt="2024-09-24T17:35:58.570" v="3989" actId="27918"/>
        <pc:sldMkLst>
          <pc:docMk/>
          <pc:sldMk cId="1293832485" sldId="1281"/>
        </pc:sldMkLst>
      </pc:sldChg>
      <pc:sldChg chg="new del">
        <pc:chgData name="Verderame, Laura" userId="c9f7ce73-3914-45e9-b146-61d4329fa8a0" providerId="ADAL" clId="{D32D4948-2773-41CA-A750-6DBEA6D61305}" dt="2024-09-27T18:44:25.031" v="4009" actId="47"/>
        <pc:sldMkLst>
          <pc:docMk/>
          <pc:sldMk cId="4044745285" sldId="1282"/>
        </pc:sldMkLst>
      </pc:sldChg>
    </pc:docChg>
  </pc:docChgLst>
  <pc:docChgLst>
    <pc:chgData name="Verderame, Laura" userId="c9f7ce73-3914-45e9-b146-61d4329fa8a0" providerId="ADAL" clId="{ACCD9B17-4E01-4629-A4CC-246EF36CD340}"/>
    <pc:docChg chg="addSld delSld modSld sldOrd">
      <pc:chgData name="Verderame, Laura" userId="c9f7ce73-3914-45e9-b146-61d4329fa8a0" providerId="ADAL" clId="{ACCD9B17-4E01-4629-A4CC-246EF36CD340}" dt="2024-09-27T19:21:43.280" v="25" actId="47"/>
      <pc:docMkLst>
        <pc:docMk/>
      </pc:docMkLst>
      <pc:sldChg chg="del">
        <pc:chgData name="Verderame, Laura" userId="c9f7ce73-3914-45e9-b146-61d4329fa8a0" providerId="ADAL" clId="{ACCD9B17-4E01-4629-A4CC-246EF36CD340}" dt="2024-09-27T19:21:43.280" v="25" actId="47"/>
        <pc:sldMkLst>
          <pc:docMk/>
          <pc:sldMk cId="795699475" sldId="302"/>
        </pc:sldMkLst>
      </pc:sldChg>
      <pc:sldChg chg="del">
        <pc:chgData name="Verderame, Laura" userId="c9f7ce73-3914-45e9-b146-61d4329fa8a0" providerId="ADAL" clId="{ACCD9B17-4E01-4629-A4CC-246EF36CD340}" dt="2024-09-27T19:21:43.280" v="25" actId="47"/>
        <pc:sldMkLst>
          <pc:docMk/>
          <pc:sldMk cId="1151207008" sldId="350"/>
        </pc:sldMkLst>
      </pc:sldChg>
      <pc:sldChg chg="del">
        <pc:chgData name="Verderame, Laura" userId="c9f7ce73-3914-45e9-b146-61d4329fa8a0" providerId="ADAL" clId="{ACCD9B17-4E01-4629-A4CC-246EF36CD340}" dt="2024-09-27T19:21:43.280" v="25" actId="47"/>
        <pc:sldMkLst>
          <pc:docMk/>
          <pc:sldMk cId="1344270309" sldId="391"/>
        </pc:sldMkLst>
      </pc:sldChg>
      <pc:sldChg chg="del">
        <pc:chgData name="Verderame, Laura" userId="c9f7ce73-3914-45e9-b146-61d4329fa8a0" providerId="ADAL" clId="{ACCD9B17-4E01-4629-A4CC-246EF36CD340}" dt="2024-09-27T19:21:43.280" v="25" actId="47"/>
        <pc:sldMkLst>
          <pc:docMk/>
          <pc:sldMk cId="357006691" sldId="393"/>
        </pc:sldMkLst>
      </pc:sldChg>
      <pc:sldChg chg="modSp add mod ord">
        <pc:chgData name="Verderame, Laura" userId="c9f7ce73-3914-45e9-b146-61d4329fa8a0" providerId="ADAL" clId="{ACCD9B17-4E01-4629-A4CC-246EF36CD340}" dt="2024-09-27T19:20:34.913" v="24" actId="20577"/>
        <pc:sldMkLst>
          <pc:docMk/>
          <pc:sldMk cId="948588143" sldId="394"/>
        </pc:sldMkLst>
      </pc:sldChg>
      <pc:sldChg chg="add ord">
        <pc:chgData name="Verderame, Laura" userId="c9f7ce73-3914-45e9-b146-61d4329fa8a0" providerId="ADAL" clId="{ACCD9B17-4E01-4629-A4CC-246EF36CD340}" dt="2024-09-27T19:20:22.019" v="2"/>
        <pc:sldMkLst>
          <pc:docMk/>
          <pc:sldMk cId="1462198432" sldId="1277"/>
        </pc:sldMkLst>
      </pc:sldChg>
      <pc:sldChg chg="add ord">
        <pc:chgData name="Verderame, Laura" userId="c9f7ce73-3914-45e9-b146-61d4329fa8a0" providerId="ADAL" clId="{ACCD9B17-4E01-4629-A4CC-246EF36CD340}" dt="2024-09-27T19:20:22.019" v="2"/>
        <pc:sldMkLst>
          <pc:docMk/>
          <pc:sldMk cId="527701164" sldId="1280"/>
        </pc:sldMkLst>
      </pc:sldChg>
      <pc:sldChg chg="add ord">
        <pc:chgData name="Verderame, Laura" userId="c9f7ce73-3914-45e9-b146-61d4329fa8a0" providerId="ADAL" clId="{ACCD9B17-4E01-4629-A4CC-246EF36CD340}" dt="2024-09-27T19:20:22.019" v="2"/>
        <pc:sldMkLst>
          <pc:docMk/>
          <pc:sldMk cId="1293832485" sldId="1281"/>
        </pc:sldMkLst>
      </pc:sldChg>
      <pc:sldChg chg="new del">
        <pc:chgData name="Verderame, Laura" userId="c9f7ce73-3914-45e9-b146-61d4329fa8a0" providerId="ADAL" clId="{ACCD9B17-4E01-4629-A4CC-246EF36CD340}" dt="2024-09-27T19:20:29.245" v="6" actId="47"/>
        <pc:sldMkLst>
          <pc:docMk/>
          <pc:sldMk cId="3186183578" sldId="1282"/>
        </pc:sldMkLst>
      </pc:sldChg>
    </pc:docChg>
  </pc:docChgLst>
  <pc:docChgLst>
    <pc:chgData name="Verderame, Laura" userId="c9f7ce73-3914-45e9-b146-61d4329fa8a0" providerId="ADAL" clId="{A02B94BD-E0E6-4A84-8D06-ED023D03BDE7}"/>
    <pc:docChg chg="undo custSel addSld delSld modSld">
      <pc:chgData name="Verderame, Laura" userId="c9f7ce73-3914-45e9-b146-61d4329fa8a0" providerId="ADAL" clId="{A02B94BD-E0E6-4A84-8D06-ED023D03BDE7}" dt="2024-08-02T17:42:25.640" v="1437" actId="47"/>
      <pc:docMkLst>
        <pc:docMk/>
      </pc:docMkLst>
      <pc:sldChg chg="modSp mod">
        <pc:chgData name="Verderame, Laura" userId="c9f7ce73-3914-45e9-b146-61d4329fa8a0" providerId="ADAL" clId="{A02B94BD-E0E6-4A84-8D06-ED023D03BDE7}" dt="2024-07-31T19:16:55.105" v="744" actId="20577"/>
        <pc:sldMkLst>
          <pc:docMk/>
          <pc:sldMk cId="1644816664" sldId="256"/>
        </pc:sldMkLst>
      </pc:sldChg>
      <pc:sldChg chg="addSp delSp modSp add mod">
        <pc:chgData name="Verderame, Laura" userId="c9f7ce73-3914-45e9-b146-61d4329fa8a0" providerId="ADAL" clId="{A02B94BD-E0E6-4A84-8D06-ED023D03BDE7}" dt="2024-07-31T19:42:40.201" v="960" actId="1036"/>
        <pc:sldMkLst>
          <pc:docMk/>
          <pc:sldMk cId="795699475" sldId="302"/>
        </pc:sldMkLst>
      </pc:sldChg>
      <pc:sldChg chg="modSp mod">
        <pc:chgData name="Verderame, Laura" userId="c9f7ce73-3914-45e9-b146-61d4329fa8a0" providerId="ADAL" clId="{A02B94BD-E0E6-4A84-8D06-ED023D03BDE7}" dt="2024-07-31T18:02:52.200" v="7" actId="20577"/>
        <pc:sldMkLst>
          <pc:docMk/>
          <pc:sldMk cId="3321822238" sldId="380"/>
        </pc:sldMkLst>
      </pc:sldChg>
      <pc:sldChg chg="addSp modSp mod">
        <pc:chgData name="Verderame, Laura" userId="c9f7ce73-3914-45e9-b146-61d4329fa8a0" providerId="ADAL" clId="{A02B94BD-E0E6-4A84-8D06-ED023D03BDE7}" dt="2024-07-31T20:27:15.733" v="1180" actId="6549"/>
        <pc:sldMkLst>
          <pc:docMk/>
          <pc:sldMk cId="1049883835" sldId="387"/>
        </pc:sldMkLst>
      </pc:sldChg>
      <pc:sldChg chg="addSp delSp modSp del mod">
        <pc:chgData name="Verderame, Laura" userId="c9f7ce73-3914-45e9-b146-61d4329fa8a0" providerId="ADAL" clId="{A02B94BD-E0E6-4A84-8D06-ED023D03BDE7}" dt="2024-07-31T19:19:10.468" v="769" actId="47"/>
        <pc:sldMkLst>
          <pc:docMk/>
          <pc:sldMk cId="3309446274" sldId="390"/>
        </pc:sldMkLst>
      </pc:sldChg>
      <pc:sldChg chg="addSp delSp modSp mod">
        <pc:chgData name="Verderame, Laura" userId="c9f7ce73-3914-45e9-b146-61d4329fa8a0" providerId="ADAL" clId="{A02B94BD-E0E6-4A84-8D06-ED023D03BDE7}" dt="2024-08-02T15:46:37.630" v="1436" actId="27918"/>
        <pc:sldMkLst>
          <pc:docMk/>
          <pc:sldMk cId="1344270309" sldId="391"/>
        </pc:sldMkLst>
      </pc:sldChg>
      <pc:sldChg chg="del">
        <pc:chgData name="Verderame, Laura" userId="c9f7ce73-3914-45e9-b146-61d4329fa8a0" providerId="ADAL" clId="{A02B94BD-E0E6-4A84-8D06-ED023D03BDE7}" dt="2024-08-02T17:42:25.640" v="1437" actId="47"/>
        <pc:sldMkLst>
          <pc:docMk/>
          <pc:sldMk cId="4227214323" sldId="392"/>
        </pc:sldMkLst>
      </pc:sldChg>
      <pc:sldChg chg="addSp modSp mod">
        <pc:chgData name="Verderame, Laura" userId="c9f7ce73-3914-45e9-b146-61d4329fa8a0" providerId="ADAL" clId="{A02B94BD-E0E6-4A84-8D06-ED023D03BDE7}" dt="2024-07-31T19:42:57.080" v="968" actId="1038"/>
        <pc:sldMkLst>
          <pc:docMk/>
          <pc:sldMk cId="357006691" sldId="393"/>
        </pc:sldMkLst>
      </pc:sldChg>
    </pc:docChg>
  </pc:docChgLst>
  <pc:docChgLst>
    <pc:chgData name="Verderame, Laura" userId="c9f7ce73-3914-45e9-b146-61d4329fa8a0" providerId="ADAL" clId="{3A252BFC-4D5F-438C-9D3D-6A51FF7CD55E}"/>
    <pc:docChg chg="undo custSel delSld modSld">
      <pc:chgData name="Verderame, Laura" userId="c9f7ce73-3914-45e9-b146-61d4329fa8a0" providerId="ADAL" clId="{3A252BFC-4D5F-438C-9D3D-6A51FF7CD55E}" dt="2024-09-27T19:02:55.883" v="312" actId="1076"/>
      <pc:docMkLst>
        <pc:docMk/>
      </pc:docMkLst>
      <pc:sldChg chg="addSp modSp mod">
        <pc:chgData name="Verderame, Laura" userId="c9f7ce73-3914-45e9-b146-61d4329fa8a0" providerId="ADAL" clId="{3A252BFC-4D5F-438C-9D3D-6A51FF7CD55E}" dt="2024-09-27T18:53:46.397" v="258" actId="20577"/>
        <pc:sldMkLst>
          <pc:docMk/>
          <pc:sldMk cId="795699475" sldId="302"/>
        </pc:sldMkLst>
      </pc:sldChg>
      <pc:sldChg chg="del">
        <pc:chgData name="Verderame, Laura" userId="c9f7ce73-3914-45e9-b146-61d4329fa8a0" providerId="ADAL" clId="{3A252BFC-4D5F-438C-9D3D-6A51FF7CD55E}" dt="2024-09-27T18:54:36.456" v="259" actId="47"/>
        <pc:sldMkLst>
          <pc:docMk/>
          <pc:sldMk cId="1517311614" sldId="362"/>
        </pc:sldMkLst>
      </pc:sldChg>
      <pc:sldChg chg="del">
        <pc:chgData name="Verderame, Laura" userId="c9f7ce73-3914-45e9-b146-61d4329fa8a0" providerId="ADAL" clId="{3A252BFC-4D5F-438C-9D3D-6A51FF7CD55E}" dt="2024-09-27T18:54:36.456" v="259" actId="47"/>
        <pc:sldMkLst>
          <pc:docMk/>
          <pc:sldMk cId="1049883835" sldId="387"/>
        </pc:sldMkLst>
      </pc:sldChg>
      <pc:sldChg chg="addSp delSp modSp mod">
        <pc:chgData name="Verderame, Laura" userId="c9f7ce73-3914-45e9-b146-61d4329fa8a0" providerId="ADAL" clId="{3A252BFC-4D5F-438C-9D3D-6A51FF7CD55E}" dt="2024-09-27T19:02:55.883" v="312" actId="1076"/>
        <pc:sldMkLst>
          <pc:docMk/>
          <pc:sldMk cId="1344270309" sldId="391"/>
        </pc:sldMkLst>
      </pc:sldChg>
      <pc:sldChg chg="del">
        <pc:chgData name="Verderame, Laura" userId="c9f7ce73-3914-45e9-b146-61d4329fa8a0" providerId="ADAL" clId="{3A252BFC-4D5F-438C-9D3D-6A51FF7CD55E}" dt="2024-09-27T18:54:36.456" v="259" actId="47"/>
        <pc:sldMkLst>
          <pc:docMk/>
          <pc:sldMk cId="948588143" sldId="394"/>
        </pc:sldMkLst>
      </pc:sldChg>
      <pc:sldChg chg="del">
        <pc:chgData name="Verderame, Laura" userId="c9f7ce73-3914-45e9-b146-61d4329fa8a0" providerId="ADAL" clId="{3A252BFC-4D5F-438C-9D3D-6A51FF7CD55E}" dt="2024-09-27T18:54:36.456" v="259" actId="47"/>
        <pc:sldMkLst>
          <pc:docMk/>
          <pc:sldMk cId="1462198432" sldId="1277"/>
        </pc:sldMkLst>
      </pc:sldChg>
      <pc:sldChg chg="del">
        <pc:chgData name="Verderame, Laura" userId="c9f7ce73-3914-45e9-b146-61d4329fa8a0" providerId="ADAL" clId="{3A252BFC-4D5F-438C-9D3D-6A51FF7CD55E}" dt="2024-09-27T18:54:36.456" v="259" actId="47"/>
        <pc:sldMkLst>
          <pc:docMk/>
          <pc:sldMk cId="527701164" sldId="1280"/>
        </pc:sldMkLst>
      </pc:sldChg>
      <pc:sldChg chg="del">
        <pc:chgData name="Verderame, Laura" userId="c9f7ce73-3914-45e9-b146-61d4329fa8a0" providerId="ADAL" clId="{3A252BFC-4D5F-438C-9D3D-6A51FF7CD55E}" dt="2024-09-27T18:54:36.456" v="259" actId="47"/>
        <pc:sldMkLst>
          <pc:docMk/>
          <pc:sldMk cId="1293832485" sldId="1281"/>
        </pc:sldMkLst>
      </pc:sldChg>
    </pc:docChg>
  </pc:docChgLst>
  <pc:docChgLst>
    <pc:chgData name="Verderame, Laura" userId="c9f7ce73-3914-45e9-b146-61d4329fa8a0" providerId="ADAL" clId="{4E3623A2-8BD3-4258-A0D0-3709C2BC5625}"/>
    <pc:docChg chg="undo custSel addSld delSld modSld sldOrd">
      <pc:chgData name="Verderame, Laura" userId="c9f7ce73-3914-45e9-b146-61d4329fa8a0" providerId="ADAL" clId="{4E3623A2-8BD3-4258-A0D0-3709C2BC5625}" dt="2024-07-15T13:54:39.221" v="2629" actId="20577"/>
      <pc:docMkLst>
        <pc:docMk/>
      </pc:docMkLst>
      <pc:sldChg chg="modSp mod">
        <pc:chgData name="Verderame, Laura" userId="c9f7ce73-3914-45e9-b146-61d4329fa8a0" providerId="ADAL" clId="{4E3623A2-8BD3-4258-A0D0-3709C2BC5625}" dt="2024-07-11T13:53:41.443" v="22" actId="20577"/>
        <pc:sldMkLst>
          <pc:docMk/>
          <pc:sldMk cId="1644816664" sldId="256"/>
        </pc:sldMkLst>
      </pc:sldChg>
      <pc:sldChg chg="del">
        <pc:chgData name="Verderame, Laura" userId="c9f7ce73-3914-45e9-b146-61d4329fa8a0" providerId="ADAL" clId="{4E3623A2-8BD3-4258-A0D0-3709C2BC5625}" dt="2024-07-11T13:59:00.041" v="190" actId="47"/>
        <pc:sldMkLst>
          <pc:docMk/>
          <pc:sldMk cId="1544602485" sldId="311"/>
        </pc:sldMkLst>
      </pc:sldChg>
      <pc:sldChg chg="del">
        <pc:chgData name="Verderame, Laura" userId="c9f7ce73-3914-45e9-b146-61d4329fa8a0" providerId="ADAL" clId="{4E3623A2-8BD3-4258-A0D0-3709C2BC5625}" dt="2024-07-11T13:59:00.041" v="190" actId="47"/>
        <pc:sldMkLst>
          <pc:docMk/>
          <pc:sldMk cId="2976105723" sldId="312"/>
        </pc:sldMkLst>
      </pc:sldChg>
      <pc:sldChg chg="del">
        <pc:chgData name="Verderame, Laura" userId="c9f7ce73-3914-45e9-b146-61d4329fa8a0" providerId="ADAL" clId="{4E3623A2-8BD3-4258-A0D0-3709C2BC5625}" dt="2024-07-11T13:59:00.041" v="190" actId="47"/>
        <pc:sldMkLst>
          <pc:docMk/>
          <pc:sldMk cId="2573500163" sldId="313"/>
        </pc:sldMkLst>
      </pc:sldChg>
      <pc:sldChg chg="del">
        <pc:chgData name="Verderame, Laura" userId="c9f7ce73-3914-45e9-b146-61d4329fa8a0" providerId="ADAL" clId="{4E3623A2-8BD3-4258-A0D0-3709C2BC5625}" dt="2024-07-11T13:59:00.041" v="190" actId="47"/>
        <pc:sldMkLst>
          <pc:docMk/>
          <pc:sldMk cId="2325329853" sldId="329"/>
        </pc:sldMkLst>
      </pc:sldChg>
      <pc:sldChg chg="modSp del mod ord">
        <pc:chgData name="Verderame, Laura" userId="c9f7ce73-3914-45e9-b146-61d4329fa8a0" providerId="ADAL" clId="{4E3623A2-8BD3-4258-A0D0-3709C2BC5625}" dt="2024-07-11T15:31:31.724" v="999" actId="47"/>
        <pc:sldMkLst>
          <pc:docMk/>
          <pc:sldMk cId="1561165700" sldId="345"/>
        </pc:sldMkLst>
      </pc:sldChg>
      <pc:sldChg chg="del">
        <pc:chgData name="Verderame, Laura" userId="c9f7ce73-3914-45e9-b146-61d4329fa8a0" providerId="ADAL" clId="{4E3623A2-8BD3-4258-A0D0-3709C2BC5625}" dt="2024-07-11T13:59:00.041" v="190" actId="47"/>
        <pc:sldMkLst>
          <pc:docMk/>
          <pc:sldMk cId="3667026624" sldId="348"/>
        </pc:sldMkLst>
      </pc:sldChg>
      <pc:sldChg chg="addSp delSp modSp mod ord">
        <pc:chgData name="Verderame, Laura" userId="c9f7ce73-3914-45e9-b146-61d4329fa8a0" providerId="ADAL" clId="{4E3623A2-8BD3-4258-A0D0-3709C2BC5625}" dt="2024-07-11T17:13:35.651" v="1370" actId="1076"/>
        <pc:sldMkLst>
          <pc:docMk/>
          <pc:sldMk cId="1151207008" sldId="350"/>
        </pc:sldMkLst>
      </pc:sldChg>
      <pc:sldChg chg="del">
        <pc:chgData name="Verderame, Laura" userId="c9f7ce73-3914-45e9-b146-61d4329fa8a0" providerId="ADAL" clId="{4E3623A2-8BD3-4258-A0D0-3709C2BC5625}" dt="2024-07-11T13:59:00.041" v="190" actId="47"/>
        <pc:sldMkLst>
          <pc:docMk/>
          <pc:sldMk cId="3186962102" sldId="355"/>
        </pc:sldMkLst>
      </pc:sldChg>
      <pc:sldChg chg="del">
        <pc:chgData name="Verderame, Laura" userId="c9f7ce73-3914-45e9-b146-61d4329fa8a0" providerId="ADAL" clId="{4E3623A2-8BD3-4258-A0D0-3709C2BC5625}" dt="2024-07-11T13:59:00.041" v="190" actId="47"/>
        <pc:sldMkLst>
          <pc:docMk/>
          <pc:sldMk cId="1247408892" sldId="356"/>
        </pc:sldMkLst>
      </pc:sldChg>
      <pc:sldChg chg="del">
        <pc:chgData name="Verderame, Laura" userId="c9f7ce73-3914-45e9-b146-61d4329fa8a0" providerId="ADAL" clId="{4E3623A2-8BD3-4258-A0D0-3709C2BC5625}" dt="2024-07-11T13:59:00.041" v="190" actId="47"/>
        <pc:sldMkLst>
          <pc:docMk/>
          <pc:sldMk cId="4263182009" sldId="357"/>
        </pc:sldMkLst>
      </pc:sldChg>
      <pc:sldChg chg="del">
        <pc:chgData name="Verderame, Laura" userId="c9f7ce73-3914-45e9-b146-61d4329fa8a0" providerId="ADAL" clId="{4E3623A2-8BD3-4258-A0D0-3709C2BC5625}" dt="2024-07-11T13:59:00.041" v="190" actId="47"/>
        <pc:sldMkLst>
          <pc:docMk/>
          <pc:sldMk cId="1913737181" sldId="358"/>
        </pc:sldMkLst>
      </pc:sldChg>
      <pc:sldChg chg="del">
        <pc:chgData name="Verderame, Laura" userId="c9f7ce73-3914-45e9-b146-61d4329fa8a0" providerId="ADAL" clId="{4E3623A2-8BD3-4258-A0D0-3709C2BC5625}" dt="2024-07-11T13:59:00.041" v="190" actId="47"/>
        <pc:sldMkLst>
          <pc:docMk/>
          <pc:sldMk cId="210088305" sldId="359"/>
        </pc:sldMkLst>
      </pc:sldChg>
      <pc:sldChg chg="del">
        <pc:chgData name="Verderame, Laura" userId="c9f7ce73-3914-45e9-b146-61d4329fa8a0" providerId="ADAL" clId="{4E3623A2-8BD3-4258-A0D0-3709C2BC5625}" dt="2024-07-11T13:59:00.041" v="190" actId="47"/>
        <pc:sldMkLst>
          <pc:docMk/>
          <pc:sldMk cId="1865158172" sldId="360"/>
        </pc:sldMkLst>
      </pc:sldChg>
      <pc:sldChg chg="modSp mod">
        <pc:chgData name="Verderame, Laura" userId="c9f7ce73-3914-45e9-b146-61d4329fa8a0" providerId="ADAL" clId="{4E3623A2-8BD3-4258-A0D0-3709C2BC5625}" dt="2024-07-11T14:20:35.773" v="342" actId="20577"/>
        <pc:sldMkLst>
          <pc:docMk/>
          <pc:sldMk cId="1517311614" sldId="362"/>
        </pc:sldMkLst>
      </pc:sldChg>
      <pc:sldChg chg="del">
        <pc:chgData name="Verderame, Laura" userId="c9f7ce73-3914-45e9-b146-61d4329fa8a0" providerId="ADAL" clId="{4E3623A2-8BD3-4258-A0D0-3709C2BC5625}" dt="2024-07-11T13:59:00.041" v="190" actId="47"/>
        <pc:sldMkLst>
          <pc:docMk/>
          <pc:sldMk cId="3885084498" sldId="369"/>
        </pc:sldMkLst>
      </pc:sldChg>
      <pc:sldChg chg="del">
        <pc:chgData name="Verderame, Laura" userId="c9f7ce73-3914-45e9-b146-61d4329fa8a0" providerId="ADAL" clId="{4E3623A2-8BD3-4258-A0D0-3709C2BC5625}" dt="2024-07-11T13:59:00.041" v="190" actId="47"/>
        <pc:sldMkLst>
          <pc:docMk/>
          <pc:sldMk cId="760507072" sldId="370"/>
        </pc:sldMkLst>
      </pc:sldChg>
      <pc:sldChg chg="del">
        <pc:chgData name="Verderame, Laura" userId="c9f7ce73-3914-45e9-b146-61d4329fa8a0" providerId="ADAL" clId="{4E3623A2-8BD3-4258-A0D0-3709C2BC5625}" dt="2024-07-11T13:59:00.041" v="190" actId="47"/>
        <pc:sldMkLst>
          <pc:docMk/>
          <pc:sldMk cId="1517896265" sldId="371"/>
        </pc:sldMkLst>
      </pc:sldChg>
      <pc:sldChg chg="del">
        <pc:chgData name="Verderame, Laura" userId="c9f7ce73-3914-45e9-b146-61d4329fa8a0" providerId="ADAL" clId="{4E3623A2-8BD3-4258-A0D0-3709C2BC5625}" dt="2024-07-11T13:59:00.041" v="190" actId="47"/>
        <pc:sldMkLst>
          <pc:docMk/>
          <pc:sldMk cId="2510908050" sldId="372"/>
        </pc:sldMkLst>
      </pc:sldChg>
      <pc:sldChg chg="del">
        <pc:chgData name="Verderame, Laura" userId="c9f7ce73-3914-45e9-b146-61d4329fa8a0" providerId="ADAL" clId="{4E3623A2-8BD3-4258-A0D0-3709C2BC5625}" dt="2024-07-11T13:59:00.041" v="190" actId="47"/>
        <pc:sldMkLst>
          <pc:docMk/>
          <pc:sldMk cId="3909982998" sldId="373"/>
        </pc:sldMkLst>
      </pc:sldChg>
      <pc:sldChg chg="del">
        <pc:chgData name="Verderame, Laura" userId="c9f7ce73-3914-45e9-b146-61d4329fa8a0" providerId="ADAL" clId="{4E3623A2-8BD3-4258-A0D0-3709C2BC5625}" dt="2024-07-11T13:59:00.041" v="190" actId="47"/>
        <pc:sldMkLst>
          <pc:docMk/>
          <pc:sldMk cId="2916222902" sldId="374"/>
        </pc:sldMkLst>
      </pc:sldChg>
      <pc:sldChg chg="del">
        <pc:chgData name="Verderame, Laura" userId="c9f7ce73-3914-45e9-b146-61d4329fa8a0" providerId="ADAL" clId="{4E3623A2-8BD3-4258-A0D0-3709C2BC5625}" dt="2024-07-11T13:59:00.041" v="190" actId="47"/>
        <pc:sldMkLst>
          <pc:docMk/>
          <pc:sldMk cId="912466825" sldId="375"/>
        </pc:sldMkLst>
      </pc:sldChg>
      <pc:sldChg chg="del">
        <pc:chgData name="Verderame, Laura" userId="c9f7ce73-3914-45e9-b146-61d4329fa8a0" providerId="ADAL" clId="{4E3623A2-8BD3-4258-A0D0-3709C2BC5625}" dt="2024-07-11T13:59:00.041" v="190" actId="47"/>
        <pc:sldMkLst>
          <pc:docMk/>
          <pc:sldMk cId="3906835423" sldId="376"/>
        </pc:sldMkLst>
      </pc:sldChg>
      <pc:sldChg chg="del">
        <pc:chgData name="Verderame, Laura" userId="c9f7ce73-3914-45e9-b146-61d4329fa8a0" providerId="ADAL" clId="{4E3623A2-8BD3-4258-A0D0-3709C2BC5625}" dt="2024-07-11T13:59:00.041" v="190" actId="47"/>
        <pc:sldMkLst>
          <pc:docMk/>
          <pc:sldMk cId="3717199110" sldId="377"/>
        </pc:sldMkLst>
      </pc:sldChg>
      <pc:sldChg chg="del">
        <pc:chgData name="Verderame, Laura" userId="c9f7ce73-3914-45e9-b146-61d4329fa8a0" providerId="ADAL" clId="{4E3623A2-8BD3-4258-A0D0-3709C2BC5625}" dt="2024-07-11T13:59:00.041" v="190" actId="47"/>
        <pc:sldMkLst>
          <pc:docMk/>
          <pc:sldMk cId="3296783873" sldId="378"/>
        </pc:sldMkLst>
      </pc:sldChg>
      <pc:sldChg chg="addSp delSp modSp mod">
        <pc:chgData name="Verderame, Laura" userId="c9f7ce73-3914-45e9-b146-61d4329fa8a0" providerId="ADAL" clId="{4E3623A2-8BD3-4258-A0D0-3709C2BC5625}" dt="2024-07-11T20:23:58.394" v="2328" actId="207"/>
        <pc:sldMkLst>
          <pc:docMk/>
          <pc:sldMk cId="3321822238" sldId="380"/>
        </pc:sldMkLst>
      </pc:sldChg>
      <pc:sldChg chg="del">
        <pc:chgData name="Verderame, Laura" userId="c9f7ce73-3914-45e9-b146-61d4329fa8a0" providerId="ADAL" clId="{4E3623A2-8BD3-4258-A0D0-3709C2BC5625}" dt="2024-07-11T13:59:00.041" v="190" actId="47"/>
        <pc:sldMkLst>
          <pc:docMk/>
          <pc:sldMk cId="2299259724" sldId="381"/>
        </pc:sldMkLst>
      </pc:sldChg>
      <pc:sldChg chg="del">
        <pc:chgData name="Verderame, Laura" userId="c9f7ce73-3914-45e9-b146-61d4329fa8a0" providerId="ADAL" clId="{4E3623A2-8BD3-4258-A0D0-3709C2BC5625}" dt="2024-07-11T13:59:00.041" v="190" actId="47"/>
        <pc:sldMkLst>
          <pc:docMk/>
          <pc:sldMk cId="1850197307" sldId="383"/>
        </pc:sldMkLst>
      </pc:sldChg>
      <pc:sldChg chg="del">
        <pc:chgData name="Verderame, Laura" userId="c9f7ce73-3914-45e9-b146-61d4329fa8a0" providerId="ADAL" clId="{4E3623A2-8BD3-4258-A0D0-3709C2BC5625}" dt="2024-07-11T13:59:00.041" v="190" actId="47"/>
        <pc:sldMkLst>
          <pc:docMk/>
          <pc:sldMk cId="364704971" sldId="384"/>
        </pc:sldMkLst>
      </pc:sldChg>
      <pc:sldChg chg="del">
        <pc:chgData name="Verderame, Laura" userId="c9f7ce73-3914-45e9-b146-61d4329fa8a0" providerId="ADAL" clId="{4E3623A2-8BD3-4258-A0D0-3709C2BC5625}" dt="2024-07-11T13:59:00.041" v="190" actId="47"/>
        <pc:sldMkLst>
          <pc:docMk/>
          <pc:sldMk cId="3898981427" sldId="385"/>
        </pc:sldMkLst>
      </pc:sldChg>
      <pc:sldChg chg="addSp delSp modSp mod">
        <pc:chgData name="Verderame, Laura" userId="c9f7ce73-3914-45e9-b146-61d4329fa8a0" providerId="ADAL" clId="{4E3623A2-8BD3-4258-A0D0-3709C2BC5625}" dt="2024-07-11T17:33:47.078" v="1436" actId="27107"/>
        <pc:sldMkLst>
          <pc:docMk/>
          <pc:sldMk cId="1049883835" sldId="387"/>
        </pc:sldMkLst>
      </pc:sldChg>
      <pc:sldChg chg="del">
        <pc:chgData name="Verderame, Laura" userId="c9f7ce73-3914-45e9-b146-61d4329fa8a0" providerId="ADAL" clId="{4E3623A2-8BD3-4258-A0D0-3709C2BC5625}" dt="2024-07-11T13:59:00.041" v="190" actId="47"/>
        <pc:sldMkLst>
          <pc:docMk/>
          <pc:sldMk cId="4197016326" sldId="388"/>
        </pc:sldMkLst>
      </pc:sldChg>
      <pc:sldChg chg="add del">
        <pc:chgData name="Verderame, Laura" userId="c9f7ce73-3914-45e9-b146-61d4329fa8a0" providerId="ADAL" clId="{4E3623A2-8BD3-4258-A0D0-3709C2BC5625}" dt="2024-07-11T19:01:26.609" v="1501" actId="47"/>
        <pc:sldMkLst>
          <pc:docMk/>
          <pc:sldMk cId="2606501104" sldId="389"/>
        </pc:sldMkLst>
      </pc:sldChg>
      <pc:sldChg chg="addSp delSp modSp add mod">
        <pc:chgData name="Verderame, Laura" userId="c9f7ce73-3914-45e9-b146-61d4329fa8a0" providerId="ADAL" clId="{4E3623A2-8BD3-4258-A0D0-3709C2BC5625}" dt="2024-07-15T13:54:39.221" v="2629" actId="20577"/>
        <pc:sldMkLst>
          <pc:docMk/>
          <pc:sldMk cId="3309446274" sldId="390"/>
        </pc:sldMkLst>
      </pc:sldChg>
      <pc:sldChg chg="addSp delSp modSp new del mod">
        <pc:chgData name="Verderame, Laura" userId="c9f7ce73-3914-45e9-b146-61d4329fa8a0" providerId="ADAL" clId="{4E3623A2-8BD3-4258-A0D0-3709C2BC5625}" dt="2024-07-11T15:14:44.104" v="957" actId="47"/>
        <pc:sldMkLst>
          <pc:docMk/>
          <pc:sldMk cId="3359826445" sldId="390"/>
        </pc:sldMkLst>
      </pc:sldChg>
      <pc:sldChg chg="addSp delSp modSp new mod">
        <pc:chgData name="Verderame, Laura" userId="c9f7ce73-3914-45e9-b146-61d4329fa8a0" providerId="ADAL" clId="{4E3623A2-8BD3-4258-A0D0-3709C2BC5625}" dt="2024-07-11T20:02:21.716" v="2061" actId="1076"/>
        <pc:sldMkLst>
          <pc:docMk/>
          <pc:sldMk cId="1344270309" sldId="391"/>
        </pc:sldMkLst>
      </pc:sldChg>
      <pc:sldChg chg="modSp new mod">
        <pc:chgData name="Verderame, Laura" userId="c9f7ce73-3914-45e9-b146-61d4329fa8a0" providerId="ADAL" clId="{4E3623A2-8BD3-4258-A0D0-3709C2BC5625}" dt="2024-07-11T17:32:20.934" v="1429" actId="20577"/>
        <pc:sldMkLst>
          <pc:docMk/>
          <pc:sldMk cId="4227214323" sldId="392"/>
        </pc:sldMkLst>
      </pc:sldChg>
      <pc:sldChg chg="addSp delSp modSp add mod">
        <pc:chgData name="Verderame, Laura" userId="c9f7ce73-3914-45e9-b146-61d4329fa8a0" providerId="ADAL" clId="{4E3623A2-8BD3-4258-A0D0-3709C2BC5625}" dt="2024-07-15T13:54:16.602" v="2623" actId="1076"/>
        <pc:sldMkLst>
          <pc:docMk/>
          <pc:sldMk cId="357006691" sldId="393"/>
        </pc:sldMkLst>
      </pc:sldChg>
    </pc:docChg>
  </pc:docChgLst>
  <pc:docChgLst>
    <pc:chgData name="Verderame, Laura" userId="c9f7ce73-3914-45e9-b146-61d4329fa8a0" providerId="ADAL" clId="{43FF0DB9-F394-4438-93E8-41EB7DAAC2F5}"/>
    <pc:docChg chg="undo custSel addSld delSld modSld sldOrd">
      <pc:chgData name="Verderame, Laura" userId="c9f7ce73-3914-45e9-b146-61d4329fa8a0" providerId="ADAL" clId="{43FF0DB9-F394-4438-93E8-41EB7DAAC2F5}" dt="2024-06-27T13:04:05.097" v="4883" actId="20577"/>
      <pc:docMkLst>
        <pc:docMk/>
      </pc:docMkLst>
      <pc:sldChg chg="modSp mod">
        <pc:chgData name="Verderame, Laura" userId="c9f7ce73-3914-45e9-b146-61d4329fa8a0" providerId="ADAL" clId="{43FF0DB9-F394-4438-93E8-41EB7DAAC2F5}" dt="2024-06-20T14:49:13.167" v="2010" actId="20577"/>
        <pc:sldMkLst>
          <pc:docMk/>
          <pc:sldMk cId="1644816664" sldId="256"/>
        </pc:sldMkLst>
      </pc:sldChg>
      <pc:sldChg chg="modSp mod">
        <pc:chgData name="Verderame, Laura" userId="c9f7ce73-3914-45e9-b146-61d4329fa8a0" providerId="ADAL" clId="{43FF0DB9-F394-4438-93E8-41EB7DAAC2F5}" dt="2024-06-20T16:44:08.027" v="2187" actId="5793"/>
        <pc:sldMkLst>
          <pc:docMk/>
          <pc:sldMk cId="2723922658" sldId="293"/>
        </pc:sldMkLst>
      </pc:sldChg>
      <pc:sldChg chg="modSp mod">
        <pc:chgData name="Verderame, Laura" userId="c9f7ce73-3914-45e9-b146-61d4329fa8a0" providerId="ADAL" clId="{43FF0DB9-F394-4438-93E8-41EB7DAAC2F5}" dt="2024-06-20T16:44:13.145" v="2189" actId="20577"/>
        <pc:sldMkLst>
          <pc:docMk/>
          <pc:sldMk cId="2276422264" sldId="294"/>
        </pc:sldMkLst>
      </pc:sldChg>
      <pc:sldChg chg="modSp mod">
        <pc:chgData name="Verderame, Laura" userId="c9f7ce73-3914-45e9-b146-61d4329fa8a0" providerId="ADAL" clId="{43FF0DB9-F394-4438-93E8-41EB7DAAC2F5}" dt="2024-06-20T16:46:11.355" v="2198" actId="20577"/>
        <pc:sldMkLst>
          <pc:docMk/>
          <pc:sldMk cId="1544602485" sldId="311"/>
        </pc:sldMkLst>
      </pc:sldChg>
      <pc:sldChg chg="modSp mod addCm delCm">
        <pc:chgData name="Verderame, Laura" userId="c9f7ce73-3914-45e9-b146-61d4329fa8a0" providerId="ADAL" clId="{43FF0DB9-F394-4438-93E8-41EB7DAAC2F5}" dt="2024-06-27T13:04:05.097" v="4883" actId="20577"/>
        <pc:sldMkLst>
          <pc:docMk/>
          <pc:sldMk cId="2573500163" sldId="313"/>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20T14:34:49.713" v="1344"/>
              <pc2:cmMkLst xmlns:pc2="http://schemas.microsoft.com/office/powerpoint/2019/9/main/command">
                <pc:docMk/>
                <pc:sldMk cId="2573500163" sldId="313"/>
                <pc2:cmMk id="{002578F7-6E53-42B9-9919-A5432A640A5C}"/>
              </pc2:cmMkLst>
            </pc226:cmChg>
          </p:ext>
        </pc:extLst>
      </pc:sldChg>
      <pc:sldChg chg="addSp delSp modSp mod addCm delCm">
        <pc:chgData name="Verderame, Laura" userId="c9f7ce73-3914-45e9-b146-61d4329fa8a0" providerId="ADAL" clId="{43FF0DB9-F394-4438-93E8-41EB7DAAC2F5}" dt="2024-06-20T14:58:51.540" v="2113" actId="20577"/>
        <pc:sldMkLst>
          <pc:docMk/>
          <pc:sldMk cId="2325329853" sldId="329"/>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20T14:23:58.675" v="1212"/>
              <pc2:cmMkLst xmlns:pc2="http://schemas.microsoft.com/office/powerpoint/2019/9/main/command">
                <pc:docMk/>
                <pc:sldMk cId="2325329853" sldId="329"/>
                <pc2:cmMk id="{8AD745C3-62BD-4740-B908-E0832061ACA6}"/>
              </pc2:cmMkLst>
            </pc226:cmChg>
          </p:ext>
        </pc:extLst>
      </pc:sldChg>
      <pc:sldChg chg="addSp delSp modSp mod">
        <pc:chgData name="Verderame, Laura" userId="c9f7ce73-3914-45e9-b146-61d4329fa8a0" providerId="ADAL" clId="{43FF0DB9-F394-4438-93E8-41EB7DAAC2F5}" dt="2024-06-27T13:03:04.871" v="4872" actId="20577"/>
        <pc:sldMkLst>
          <pc:docMk/>
          <pc:sldMk cId="1561165700" sldId="345"/>
        </pc:sldMkLst>
      </pc:sldChg>
      <pc:sldChg chg="addSp delSp modSp mod addCm delCm">
        <pc:chgData name="Verderame, Laura" userId="c9f7ce73-3914-45e9-b146-61d4329fa8a0" providerId="ADAL" clId="{43FF0DB9-F394-4438-93E8-41EB7DAAC2F5}" dt="2024-06-20T14:09:26.952" v="1088" actId="14100"/>
        <pc:sldMkLst>
          <pc:docMk/>
          <pc:sldMk cId="3667026624" sldId="348"/>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13T21:01:35.986" v="679"/>
              <pc2:cmMkLst xmlns:pc2="http://schemas.microsoft.com/office/powerpoint/2019/9/main/command">
                <pc:docMk/>
                <pc:sldMk cId="3667026624" sldId="348"/>
                <pc2:cmMk id="{3ED81798-5C8A-427D-B21A-AE7FA568E500}"/>
              </pc2:cmMkLst>
            </pc226:cmChg>
          </p:ext>
        </pc:extLst>
      </pc:sldChg>
      <pc:sldChg chg="addSp delSp modSp mod">
        <pc:chgData name="Verderame, Laura" userId="c9f7ce73-3914-45e9-b146-61d4329fa8a0" providerId="ADAL" clId="{43FF0DB9-F394-4438-93E8-41EB7DAAC2F5}" dt="2024-06-27T13:03:33.231" v="4879" actId="20577"/>
        <pc:sldMkLst>
          <pc:docMk/>
          <pc:sldMk cId="1151207008" sldId="350"/>
        </pc:sldMkLst>
      </pc:sldChg>
      <pc:sldChg chg="addSp delSp modSp add del mod addCm">
        <pc:chgData name="Verderame, Laura" userId="c9f7ce73-3914-45e9-b146-61d4329fa8a0" providerId="ADAL" clId="{43FF0DB9-F394-4438-93E8-41EB7DAAC2F5}" dt="2024-06-20T18:17:07.674" v="3546" actId="47"/>
        <pc:sldMkLst>
          <pc:docMk/>
          <pc:sldMk cId="1016452424" sldId="353"/>
        </pc:sldMkLst>
        <pc:extLst>
          <p:ext xmlns:p="http://schemas.openxmlformats.org/presentationml/2006/main" uri="{D6D511B9-2390-475A-947B-AFAB55BFBCF1}">
            <pc226:cmChg xmlns:pc226="http://schemas.microsoft.com/office/powerpoint/2022/06/main/command" chg="add">
              <pc226:chgData name="Verderame, Laura" userId="c9f7ce73-3914-45e9-b146-61d4329fa8a0" providerId="ADAL" clId="{43FF0DB9-F394-4438-93E8-41EB7DAAC2F5}" dt="2024-06-13T20:25:23.858" v="105"/>
              <pc2:cmMkLst xmlns:pc2="http://schemas.microsoft.com/office/powerpoint/2019/9/main/command">
                <pc:docMk/>
                <pc:sldMk cId="1016452424" sldId="353"/>
                <pc2:cmMk id="{980C9E1E-CAAD-4602-9DB7-66E0EC5695B3}"/>
              </pc2:cmMkLst>
            </pc226:cmChg>
          </p:ext>
        </pc:extLst>
      </pc:sldChg>
      <pc:sldChg chg="addSp delSp modSp mod addCm delCm">
        <pc:chgData name="Verderame, Laura" userId="c9f7ce73-3914-45e9-b146-61d4329fa8a0" providerId="ADAL" clId="{43FF0DB9-F394-4438-93E8-41EB7DAAC2F5}" dt="2024-06-20T19:50:37.789" v="4036" actId="1582"/>
        <pc:sldMkLst>
          <pc:docMk/>
          <pc:sldMk cId="3186962102" sldId="355"/>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20T18:28:48.865" v="3794"/>
              <pc2:cmMkLst xmlns:pc2="http://schemas.microsoft.com/office/powerpoint/2019/9/main/command">
                <pc:docMk/>
                <pc:sldMk cId="3186962102" sldId="355"/>
                <pc2:cmMk id="{EDDF12F9-ACDE-40AD-B0EF-58D7741AFC69}"/>
              </pc2:cmMkLst>
            </pc226:cmChg>
          </p:ext>
        </pc:extLst>
      </pc:sldChg>
      <pc:sldChg chg="del">
        <pc:chgData name="Verderame, Laura" userId="c9f7ce73-3914-45e9-b146-61d4329fa8a0" providerId="ADAL" clId="{43FF0DB9-F394-4438-93E8-41EB7DAAC2F5}" dt="2024-06-13T20:19:31.531" v="23" actId="2696"/>
        <pc:sldMkLst>
          <pc:docMk/>
          <pc:sldMk cId="1153646848" sldId="356"/>
        </pc:sldMkLst>
      </pc:sldChg>
      <pc:sldChg chg="modSp add mod modShow">
        <pc:chgData name="Verderame, Laura" userId="c9f7ce73-3914-45e9-b146-61d4329fa8a0" providerId="ADAL" clId="{43FF0DB9-F394-4438-93E8-41EB7DAAC2F5}" dt="2024-06-20T16:43:12.620" v="2146" actId="6549"/>
        <pc:sldMkLst>
          <pc:docMk/>
          <pc:sldMk cId="1247408892" sldId="356"/>
        </pc:sldMkLst>
      </pc:sldChg>
      <pc:sldChg chg="del">
        <pc:chgData name="Verderame, Laura" userId="c9f7ce73-3914-45e9-b146-61d4329fa8a0" providerId="ADAL" clId="{43FF0DB9-F394-4438-93E8-41EB7DAAC2F5}" dt="2024-06-13T20:19:31.531" v="23" actId="2696"/>
        <pc:sldMkLst>
          <pc:docMk/>
          <pc:sldMk cId="125547398" sldId="357"/>
        </pc:sldMkLst>
      </pc:sldChg>
      <pc:sldChg chg="add mod modShow">
        <pc:chgData name="Verderame, Laura" userId="c9f7ce73-3914-45e9-b146-61d4329fa8a0" providerId="ADAL" clId="{43FF0DB9-F394-4438-93E8-41EB7DAAC2F5}" dt="2024-06-13T20:19:55.202" v="38" actId="729"/>
        <pc:sldMkLst>
          <pc:docMk/>
          <pc:sldMk cId="4263182009" sldId="357"/>
        </pc:sldMkLst>
      </pc:sldChg>
      <pc:sldChg chg="del">
        <pc:chgData name="Verderame, Laura" userId="c9f7ce73-3914-45e9-b146-61d4329fa8a0" providerId="ADAL" clId="{43FF0DB9-F394-4438-93E8-41EB7DAAC2F5}" dt="2024-06-13T20:19:31.531" v="23" actId="2696"/>
        <pc:sldMkLst>
          <pc:docMk/>
          <pc:sldMk cId="1161984661" sldId="358"/>
        </pc:sldMkLst>
      </pc:sldChg>
      <pc:sldChg chg="add mod modShow">
        <pc:chgData name="Verderame, Laura" userId="c9f7ce73-3914-45e9-b146-61d4329fa8a0" providerId="ADAL" clId="{43FF0DB9-F394-4438-93E8-41EB7DAAC2F5}" dt="2024-06-13T20:19:55.202" v="38" actId="729"/>
        <pc:sldMkLst>
          <pc:docMk/>
          <pc:sldMk cId="1913737181" sldId="358"/>
        </pc:sldMkLst>
      </pc:sldChg>
      <pc:sldChg chg="add mod modShow">
        <pc:chgData name="Verderame, Laura" userId="c9f7ce73-3914-45e9-b146-61d4329fa8a0" providerId="ADAL" clId="{43FF0DB9-F394-4438-93E8-41EB7DAAC2F5}" dt="2024-06-13T20:19:55.202" v="38" actId="729"/>
        <pc:sldMkLst>
          <pc:docMk/>
          <pc:sldMk cId="210088305" sldId="359"/>
        </pc:sldMkLst>
      </pc:sldChg>
      <pc:sldChg chg="del">
        <pc:chgData name="Verderame, Laura" userId="c9f7ce73-3914-45e9-b146-61d4329fa8a0" providerId="ADAL" clId="{43FF0DB9-F394-4438-93E8-41EB7DAAC2F5}" dt="2024-06-13T20:19:31.531" v="23" actId="2696"/>
        <pc:sldMkLst>
          <pc:docMk/>
          <pc:sldMk cId="1459240122" sldId="359"/>
        </pc:sldMkLst>
      </pc:sldChg>
      <pc:sldChg chg="add mod modShow">
        <pc:chgData name="Verderame, Laura" userId="c9f7ce73-3914-45e9-b146-61d4329fa8a0" providerId="ADAL" clId="{43FF0DB9-F394-4438-93E8-41EB7DAAC2F5}" dt="2024-06-13T20:19:55.202" v="38" actId="729"/>
        <pc:sldMkLst>
          <pc:docMk/>
          <pc:sldMk cId="1865158172" sldId="360"/>
        </pc:sldMkLst>
      </pc:sldChg>
      <pc:sldChg chg="del">
        <pc:chgData name="Verderame, Laura" userId="c9f7ce73-3914-45e9-b146-61d4329fa8a0" providerId="ADAL" clId="{43FF0DB9-F394-4438-93E8-41EB7DAAC2F5}" dt="2024-06-13T20:19:31.531" v="23" actId="2696"/>
        <pc:sldMkLst>
          <pc:docMk/>
          <pc:sldMk cId="3258723943" sldId="360"/>
        </pc:sldMkLst>
      </pc:sldChg>
      <pc:sldChg chg="modSp del mod">
        <pc:chgData name="Verderame, Laura" userId="c9f7ce73-3914-45e9-b146-61d4329fa8a0" providerId="ADAL" clId="{43FF0DB9-F394-4438-93E8-41EB7DAAC2F5}" dt="2024-06-13T20:24:36.976" v="93" actId="47"/>
        <pc:sldMkLst>
          <pc:docMk/>
          <pc:sldMk cId="1596551098" sldId="361"/>
        </pc:sldMkLst>
      </pc:sldChg>
      <pc:sldChg chg="modSp mod ord">
        <pc:chgData name="Verderame, Laura" userId="c9f7ce73-3914-45e9-b146-61d4329fa8a0" providerId="ADAL" clId="{43FF0DB9-F394-4438-93E8-41EB7DAAC2F5}" dt="2024-06-20T16:43:37.327" v="2180" actId="6549"/>
        <pc:sldMkLst>
          <pc:docMk/>
          <pc:sldMk cId="1517311614" sldId="362"/>
        </pc:sldMkLst>
      </pc:sldChg>
      <pc:sldChg chg="del ord">
        <pc:chgData name="Verderame, Laura" userId="c9f7ce73-3914-45e9-b146-61d4329fa8a0" providerId="ADAL" clId="{43FF0DB9-F394-4438-93E8-41EB7DAAC2F5}" dt="2024-06-20T16:43:45.899" v="2181" actId="47"/>
        <pc:sldMkLst>
          <pc:docMk/>
          <pc:sldMk cId="534143578" sldId="363"/>
        </pc:sldMkLst>
      </pc:sldChg>
      <pc:sldChg chg="del ord">
        <pc:chgData name="Verderame, Laura" userId="c9f7ce73-3914-45e9-b146-61d4329fa8a0" providerId="ADAL" clId="{43FF0DB9-F394-4438-93E8-41EB7DAAC2F5}" dt="2024-06-20T16:43:45.899" v="2181" actId="47"/>
        <pc:sldMkLst>
          <pc:docMk/>
          <pc:sldMk cId="1021012824" sldId="365"/>
        </pc:sldMkLst>
      </pc:sldChg>
      <pc:sldChg chg="del ord">
        <pc:chgData name="Verderame, Laura" userId="c9f7ce73-3914-45e9-b146-61d4329fa8a0" providerId="ADAL" clId="{43FF0DB9-F394-4438-93E8-41EB7DAAC2F5}" dt="2024-06-20T16:43:45.899" v="2181" actId="47"/>
        <pc:sldMkLst>
          <pc:docMk/>
          <pc:sldMk cId="2375230426" sldId="366"/>
        </pc:sldMkLst>
      </pc:sldChg>
      <pc:sldChg chg="del ord">
        <pc:chgData name="Verderame, Laura" userId="c9f7ce73-3914-45e9-b146-61d4329fa8a0" providerId="ADAL" clId="{43FF0DB9-F394-4438-93E8-41EB7DAAC2F5}" dt="2024-06-20T16:43:45.899" v="2181" actId="47"/>
        <pc:sldMkLst>
          <pc:docMk/>
          <pc:sldMk cId="193153573" sldId="367"/>
        </pc:sldMkLst>
      </pc:sldChg>
      <pc:sldChg chg="addSp delSp modSp mod">
        <pc:chgData name="Verderame, Laura" userId="c9f7ce73-3914-45e9-b146-61d4329fa8a0" providerId="ADAL" clId="{43FF0DB9-F394-4438-93E8-41EB7DAAC2F5}" dt="2024-06-20T16:46:23.443" v="2200" actId="20577"/>
        <pc:sldMkLst>
          <pc:docMk/>
          <pc:sldMk cId="3885084498" sldId="369"/>
        </pc:sldMkLst>
      </pc:sldChg>
      <pc:sldChg chg="addSp delSp modSp mod ord modShow addCm delCm">
        <pc:chgData name="Verderame, Laura" userId="c9f7ce73-3914-45e9-b146-61d4329fa8a0" providerId="ADAL" clId="{43FF0DB9-F394-4438-93E8-41EB7DAAC2F5}" dt="2024-06-20T14:58:14.507" v="2109" actId="729"/>
        <pc:sldMkLst>
          <pc:docMk/>
          <pc:sldMk cId="760507072" sldId="370"/>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13T21:07:09.147" v="907"/>
              <pc2:cmMkLst xmlns:pc2="http://schemas.microsoft.com/office/powerpoint/2019/9/main/command">
                <pc:docMk/>
                <pc:sldMk cId="760507072" sldId="370"/>
                <pc2:cmMk id="{12252582-9FE2-4EF9-BF00-C49BD2922A83}"/>
              </pc2:cmMkLst>
            </pc226:cmChg>
          </p:ext>
        </pc:extLst>
      </pc:sldChg>
      <pc:sldChg chg="modSp mod">
        <pc:chgData name="Verderame, Laura" userId="c9f7ce73-3914-45e9-b146-61d4329fa8a0" providerId="ADAL" clId="{43FF0DB9-F394-4438-93E8-41EB7DAAC2F5}" dt="2024-06-20T16:42:41.285" v="2119" actId="20577"/>
        <pc:sldMkLst>
          <pc:docMk/>
          <pc:sldMk cId="1517896265" sldId="371"/>
        </pc:sldMkLst>
      </pc:sldChg>
      <pc:sldChg chg="addSp modSp mod">
        <pc:chgData name="Verderame, Laura" userId="c9f7ce73-3914-45e9-b146-61d4329fa8a0" providerId="ADAL" clId="{43FF0DB9-F394-4438-93E8-41EB7DAAC2F5}" dt="2024-06-20T17:57:41.337" v="3167" actId="6549"/>
        <pc:sldMkLst>
          <pc:docMk/>
          <pc:sldMk cId="2916222902" sldId="374"/>
        </pc:sldMkLst>
      </pc:sldChg>
      <pc:sldChg chg="modSp mod">
        <pc:chgData name="Verderame, Laura" userId="c9f7ce73-3914-45e9-b146-61d4329fa8a0" providerId="ADAL" clId="{43FF0DB9-F394-4438-93E8-41EB7DAAC2F5}" dt="2024-06-20T16:42:43.795" v="2121" actId="20577"/>
        <pc:sldMkLst>
          <pc:docMk/>
          <pc:sldMk cId="912466825" sldId="375"/>
        </pc:sldMkLst>
      </pc:sldChg>
      <pc:sldChg chg="addSp modSp">
        <pc:chgData name="Verderame, Laura" userId="c9f7ce73-3914-45e9-b146-61d4329fa8a0" providerId="ADAL" clId="{43FF0DB9-F394-4438-93E8-41EB7DAAC2F5}" dt="2024-06-20T17:57:53.495" v="3170"/>
        <pc:sldMkLst>
          <pc:docMk/>
          <pc:sldMk cId="3296783873" sldId="378"/>
        </pc:sldMkLst>
      </pc:sldChg>
      <pc:sldChg chg="modSp del mod ord">
        <pc:chgData name="Verderame, Laura" userId="c9f7ce73-3914-45e9-b146-61d4329fa8a0" providerId="ADAL" clId="{43FF0DB9-F394-4438-93E8-41EB7DAAC2F5}" dt="2024-06-20T17:54:29.042" v="3156" actId="47"/>
        <pc:sldMkLst>
          <pc:docMk/>
          <pc:sldMk cId="1625429249" sldId="379"/>
        </pc:sldMkLst>
      </pc:sldChg>
      <pc:sldChg chg="modSp mod addCm delCm">
        <pc:chgData name="Verderame, Laura" userId="c9f7ce73-3914-45e9-b146-61d4329fa8a0" providerId="ADAL" clId="{43FF0DB9-F394-4438-93E8-41EB7DAAC2F5}" dt="2024-06-20T14:57:36.519" v="2108"/>
        <pc:sldMkLst>
          <pc:docMk/>
          <pc:sldMk cId="3321822238" sldId="380"/>
        </pc:sldMkLst>
        <pc:extLst>
          <p:ext xmlns:p="http://schemas.openxmlformats.org/presentationml/2006/main" uri="{D6D511B9-2390-475A-947B-AFAB55BFBCF1}">
            <pc226:cmChg xmlns:pc226="http://schemas.microsoft.com/office/powerpoint/2022/06/main/command" chg="add del">
              <pc226:chgData name="Verderame, Laura" userId="c9f7ce73-3914-45e9-b146-61d4329fa8a0" providerId="ADAL" clId="{43FF0DB9-F394-4438-93E8-41EB7DAAC2F5}" dt="2024-06-20T14:57:36.519" v="2108"/>
              <pc2:cmMkLst xmlns:pc2="http://schemas.microsoft.com/office/powerpoint/2019/9/main/command">
                <pc:docMk/>
                <pc:sldMk cId="3321822238" sldId="380"/>
                <pc2:cmMk id="{F846FDAE-6A1C-4984-AA6A-8DED8B1CC6FF}"/>
              </pc2:cmMkLst>
            </pc226:cmChg>
          </p:ext>
        </pc:extLst>
      </pc:sldChg>
      <pc:sldChg chg="modSp add mod">
        <pc:chgData name="Verderame, Laura" userId="c9f7ce73-3914-45e9-b146-61d4329fa8a0" providerId="ADAL" clId="{43FF0DB9-F394-4438-93E8-41EB7DAAC2F5}" dt="2024-06-20T16:43:05.156" v="2145" actId="6549"/>
        <pc:sldMkLst>
          <pc:docMk/>
          <pc:sldMk cId="2299259724" sldId="381"/>
        </pc:sldMkLst>
      </pc:sldChg>
      <pc:sldChg chg="add del">
        <pc:chgData name="Verderame, Laura" userId="c9f7ce73-3914-45e9-b146-61d4329fa8a0" providerId="ADAL" clId="{43FF0DB9-F394-4438-93E8-41EB7DAAC2F5}" dt="2024-06-20T16:57:11.554" v="2202" actId="47"/>
        <pc:sldMkLst>
          <pc:docMk/>
          <pc:sldMk cId="326380191" sldId="382"/>
        </pc:sldMkLst>
      </pc:sldChg>
      <pc:sldChg chg="addSp delSp modSp add mod addCm delCm modCm">
        <pc:chgData name="Verderame, Laura" userId="c9f7ce73-3914-45e9-b146-61d4329fa8a0" providerId="ADAL" clId="{43FF0DB9-F394-4438-93E8-41EB7DAAC2F5}" dt="2024-06-20T17:08:43.030" v="2334"/>
        <pc:sldMkLst>
          <pc:docMk/>
          <pc:sldMk cId="1850197307" sldId="383"/>
        </pc:sldMkLst>
        <pc:extLst>
          <p:ext xmlns:p="http://schemas.openxmlformats.org/presentationml/2006/main" uri="{D6D511B9-2390-475A-947B-AFAB55BFBCF1}">
            <pc226:cmChg xmlns:pc226="http://schemas.microsoft.com/office/powerpoint/2022/06/main/command" chg="add del mod">
              <pc226:chgData name="Verderame, Laura" userId="c9f7ce73-3914-45e9-b146-61d4329fa8a0" providerId="ADAL" clId="{43FF0DB9-F394-4438-93E8-41EB7DAAC2F5}" dt="2024-06-20T17:08:43.030" v="2334"/>
              <pc2:cmMkLst xmlns:pc2="http://schemas.microsoft.com/office/powerpoint/2019/9/main/command">
                <pc:docMk/>
                <pc:sldMk cId="1850197307" sldId="383"/>
                <pc2:cmMk id="{797E9881-6F9F-4282-B848-32D345B9019E}"/>
              </pc2:cmMkLst>
            </pc226:cmChg>
          </p:ext>
        </pc:extLst>
      </pc:sldChg>
      <pc:sldChg chg="addSp delSp modSp add mod">
        <pc:chgData name="Verderame, Laura" userId="c9f7ce73-3914-45e9-b146-61d4329fa8a0" providerId="ADAL" clId="{43FF0DB9-F394-4438-93E8-41EB7DAAC2F5}" dt="2024-06-27T13:03:44.162" v="4881" actId="20577"/>
        <pc:sldMkLst>
          <pc:docMk/>
          <pc:sldMk cId="364704971" sldId="384"/>
        </pc:sldMkLst>
      </pc:sldChg>
      <pc:sldChg chg="addSp delSp modSp add mod">
        <pc:chgData name="Verderame, Laura" userId="c9f7ce73-3914-45e9-b146-61d4329fa8a0" providerId="ADAL" clId="{43FF0DB9-F394-4438-93E8-41EB7DAAC2F5}" dt="2024-06-20T16:59:57.833" v="2240" actId="1076"/>
        <pc:sldMkLst>
          <pc:docMk/>
          <pc:sldMk cId="3898981427" sldId="385"/>
        </pc:sldMkLst>
      </pc:sldChg>
      <pc:sldChg chg="delSp modSp add del mod">
        <pc:chgData name="Verderame, Laura" userId="c9f7ce73-3914-45e9-b146-61d4329fa8a0" providerId="ADAL" clId="{43FF0DB9-F394-4438-93E8-41EB7DAAC2F5}" dt="2024-06-20T17:52:09.179" v="2999" actId="47"/>
        <pc:sldMkLst>
          <pc:docMk/>
          <pc:sldMk cId="4275667060" sldId="386"/>
        </pc:sldMkLst>
      </pc:sldChg>
      <pc:sldChg chg="addSp delSp modSp add mod ord">
        <pc:chgData name="Verderame, Laura" userId="c9f7ce73-3914-45e9-b146-61d4329fa8a0" providerId="ADAL" clId="{43FF0DB9-F394-4438-93E8-41EB7DAAC2F5}" dt="2024-06-20T17:53:53.269" v="3155" actId="14100"/>
        <pc:sldMkLst>
          <pc:docMk/>
          <pc:sldMk cId="1049883835" sldId="387"/>
        </pc:sldMkLst>
      </pc:sldChg>
      <pc:sldChg chg="addSp delSp modSp add mod delCm">
        <pc:chgData name="Verderame, Laura" userId="c9f7ce73-3914-45e9-b146-61d4329fa8a0" providerId="ADAL" clId="{43FF0DB9-F394-4438-93E8-41EB7DAAC2F5}" dt="2024-06-20T18:21:05.191" v="3645" actId="1076"/>
        <pc:sldMkLst>
          <pc:docMk/>
          <pc:sldMk cId="4197016326" sldId="388"/>
        </pc:sldMkLst>
        <pc:extLst>
          <p:ext xmlns:p="http://schemas.openxmlformats.org/presentationml/2006/main" uri="{D6D511B9-2390-475A-947B-AFAB55BFBCF1}">
            <pc226:cmChg xmlns:pc226="http://schemas.microsoft.com/office/powerpoint/2022/06/main/command" chg="del">
              <pc226:chgData name="Verderame, Laura" userId="c9f7ce73-3914-45e9-b146-61d4329fa8a0" providerId="ADAL" clId="{43FF0DB9-F394-4438-93E8-41EB7DAAC2F5}" dt="2024-06-20T18:17:02.340" v="3545"/>
              <pc2:cmMkLst xmlns:pc2="http://schemas.microsoft.com/office/powerpoint/2019/9/main/command">
                <pc:docMk/>
                <pc:sldMk cId="4197016326" sldId="388"/>
                <pc2:cmMk id="{2384093D-1A1A-4151-A4C2-4A19F45100EA}"/>
              </pc2:cmMkLst>
            </pc226:cmChg>
          </p:ext>
        </pc:extLst>
      </pc:sldChg>
      <pc:sldChg chg="addSp delSp modSp add mod modClrScheme chgLayout">
        <pc:chgData name="Verderame, Laura" userId="c9f7ce73-3914-45e9-b146-61d4329fa8a0" providerId="ADAL" clId="{43FF0DB9-F394-4438-93E8-41EB7DAAC2F5}" dt="2024-06-26T21:06:57.783" v="4868" actId="1076"/>
        <pc:sldMkLst>
          <pc:docMk/>
          <pc:sldMk cId="2606501104" sldId="389"/>
        </pc:sldMkLst>
      </pc:sldChg>
      <pc:sldChg chg="delSp modSp add del mod">
        <pc:chgData name="Verderame, Laura" userId="c9f7ce73-3914-45e9-b146-61d4329fa8a0" providerId="ADAL" clId="{43FF0DB9-F394-4438-93E8-41EB7DAAC2F5}" dt="2024-06-20T18:28:35.687" v="3793" actId="47"/>
        <pc:sldMkLst>
          <pc:docMk/>
          <pc:sldMk cId="2798827937" sldId="389"/>
        </pc:sldMkLst>
      </pc:sldChg>
    </pc:docChg>
  </pc:docChgLst>
  <pc:docChgLst>
    <pc:chgData name="Verderame, Laura" userId="c9f7ce73-3914-45e9-b146-61d4329fa8a0" providerId="ADAL" clId="{9A71086D-2E7A-4B58-83EC-7FFD3212F7D3}"/>
    <pc:docChg chg="undo redo custSel addSld delSld modSld sldOrd modMainMaster">
      <pc:chgData name="Verderame, Laura" userId="c9f7ce73-3914-45e9-b146-61d4329fa8a0" providerId="ADAL" clId="{9A71086D-2E7A-4B58-83EC-7FFD3212F7D3}" dt="2025-03-05T18:33:48.693" v="8823" actId="408"/>
      <pc:docMkLst>
        <pc:docMk/>
      </pc:docMkLst>
      <pc:sldChg chg="modSp mod">
        <pc:chgData name="Verderame, Laura" userId="c9f7ce73-3914-45e9-b146-61d4329fa8a0" providerId="ADAL" clId="{9A71086D-2E7A-4B58-83EC-7FFD3212F7D3}" dt="2025-03-05T17:40:13.663" v="7817"/>
        <pc:sldMkLst>
          <pc:docMk/>
          <pc:sldMk cId="1644816664" sldId="256"/>
        </pc:sldMkLst>
        <pc:spChg chg="mod">
          <ac:chgData name="Verderame, Laura" userId="c9f7ce73-3914-45e9-b146-61d4329fa8a0" providerId="ADAL" clId="{9A71086D-2E7A-4B58-83EC-7FFD3212F7D3}" dt="2025-03-05T17:40:13.663" v="7817"/>
          <ac:spMkLst>
            <pc:docMk/>
            <pc:sldMk cId="1644816664" sldId="256"/>
            <ac:spMk id="4" creationId="{00000000-0000-0000-0000-000000000000}"/>
          </ac:spMkLst>
        </pc:spChg>
        <pc:spChg chg="mod">
          <ac:chgData name="Verderame, Laura" userId="c9f7ce73-3914-45e9-b146-61d4329fa8a0" providerId="ADAL" clId="{9A71086D-2E7A-4B58-83EC-7FFD3212F7D3}" dt="2025-02-18T20:48:33.292" v="961" actId="1076"/>
          <ac:spMkLst>
            <pc:docMk/>
            <pc:sldMk cId="1644816664" sldId="256"/>
            <ac:spMk id="6" creationId="{00000000-0000-0000-0000-000000000000}"/>
          </ac:spMkLst>
        </pc:spChg>
        <pc:spChg chg="mod">
          <ac:chgData name="Verderame, Laura" userId="c9f7ce73-3914-45e9-b146-61d4329fa8a0" providerId="ADAL" clId="{9A71086D-2E7A-4B58-83EC-7FFD3212F7D3}" dt="2025-02-18T20:48:50.380" v="966" actId="114"/>
          <ac:spMkLst>
            <pc:docMk/>
            <pc:sldMk cId="1644816664" sldId="256"/>
            <ac:spMk id="8" creationId="{00000000-0000-0000-0000-000000000000}"/>
          </ac:spMkLst>
        </pc:spChg>
      </pc:sldChg>
      <pc:sldChg chg="add del">
        <pc:chgData name="Verderame, Laura" userId="c9f7ce73-3914-45e9-b146-61d4329fa8a0" providerId="ADAL" clId="{9A71086D-2E7A-4B58-83EC-7FFD3212F7D3}" dt="2025-02-27T20:33:33.723" v="5987" actId="47"/>
        <pc:sldMkLst>
          <pc:docMk/>
          <pc:sldMk cId="3319331540" sldId="266"/>
        </pc:sldMkLst>
      </pc:sldChg>
      <pc:sldChg chg="add del">
        <pc:chgData name="Verderame, Laura" userId="c9f7ce73-3914-45e9-b146-61d4329fa8a0" providerId="ADAL" clId="{9A71086D-2E7A-4B58-83EC-7FFD3212F7D3}" dt="2025-02-27T20:33:10.293" v="5981" actId="47"/>
        <pc:sldMkLst>
          <pc:docMk/>
          <pc:sldMk cId="2820565261" sldId="269"/>
        </pc:sldMkLst>
      </pc:sldChg>
      <pc:sldChg chg="add del">
        <pc:chgData name="Verderame, Laura" userId="c9f7ce73-3914-45e9-b146-61d4329fa8a0" providerId="ADAL" clId="{9A71086D-2E7A-4B58-83EC-7FFD3212F7D3}" dt="2025-02-27T20:31:20.960" v="5976" actId="47"/>
        <pc:sldMkLst>
          <pc:docMk/>
          <pc:sldMk cId="1760861798" sldId="270"/>
        </pc:sldMkLst>
      </pc:sldChg>
      <pc:sldChg chg="addSp delSp modSp add mod">
        <pc:chgData name="Verderame, Laura" userId="c9f7ce73-3914-45e9-b146-61d4329fa8a0" providerId="ADAL" clId="{9A71086D-2E7A-4B58-83EC-7FFD3212F7D3}" dt="2025-02-27T19:08:44.074" v="4941" actId="14100"/>
        <pc:sldMkLst>
          <pc:docMk/>
          <pc:sldMk cId="2521561235" sldId="281"/>
        </pc:sldMkLst>
        <pc:spChg chg="topLvl">
          <ac:chgData name="Verderame, Laura" userId="c9f7ce73-3914-45e9-b146-61d4329fa8a0" providerId="ADAL" clId="{9A71086D-2E7A-4B58-83EC-7FFD3212F7D3}" dt="2025-02-26T21:38:58.031" v="4512" actId="478"/>
          <ac:spMkLst>
            <pc:docMk/>
            <pc:sldMk cId="2521561235" sldId="281"/>
            <ac:spMk id="3" creationId="{00000000-0000-0000-0000-000000000000}"/>
          </ac:spMkLst>
        </pc:spChg>
        <pc:spChg chg="add mod">
          <ac:chgData name="Verderame, Laura" userId="c9f7ce73-3914-45e9-b146-61d4329fa8a0" providerId="ADAL" clId="{9A71086D-2E7A-4B58-83EC-7FFD3212F7D3}" dt="2025-02-27T19:08:44.074" v="4941" actId="14100"/>
          <ac:spMkLst>
            <pc:docMk/>
            <pc:sldMk cId="2521561235" sldId="281"/>
            <ac:spMk id="6" creationId="{3AFE9FF0-7264-0252-E300-759AE485D41B}"/>
          </ac:spMkLst>
        </pc:spChg>
        <pc:spChg chg="mod">
          <ac:chgData name="Verderame, Laura" userId="c9f7ce73-3914-45e9-b146-61d4329fa8a0" providerId="ADAL" clId="{9A71086D-2E7A-4B58-83EC-7FFD3212F7D3}" dt="2025-02-26T21:00:35.256" v="4225" actId="20577"/>
          <ac:spMkLst>
            <pc:docMk/>
            <pc:sldMk cId="2521561235" sldId="281"/>
            <ac:spMk id="8" creationId="{00000000-0000-0000-0000-000000000000}"/>
          </ac:spMkLst>
        </pc:spChg>
        <pc:spChg chg="mod">
          <ac:chgData name="Verderame, Laura" userId="c9f7ce73-3914-45e9-b146-61d4329fa8a0" providerId="ADAL" clId="{9A71086D-2E7A-4B58-83EC-7FFD3212F7D3}" dt="2025-02-26T21:40:59.189" v="4559" actId="1076"/>
          <ac:spMkLst>
            <pc:docMk/>
            <pc:sldMk cId="2521561235" sldId="281"/>
            <ac:spMk id="12" creationId="{00000000-0000-0000-0000-000000000000}"/>
          </ac:spMkLst>
        </pc:spChg>
        <pc:spChg chg="mod">
          <ac:chgData name="Verderame, Laura" userId="c9f7ce73-3914-45e9-b146-61d4329fa8a0" providerId="ADAL" clId="{9A71086D-2E7A-4B58-83EC-7FFD3212F7D3}" dt="2025-02-26T21:39:01.744" v="4513" actId="207"/>
          <ac:spMkLst>
            <pc:docMk/>
            <pc:sldMk cId="2521561235" sldId="281"/>
            <ac:spMk id="13" creationId="{9A6A4D16-2CB5-DA4B-9931-20D3477C5477}"/>
          </ac:spMkLst>
        </pc:spChg>
        <pc:spChg chg="add mod">
          <ac:chgData name="Verderame, Laura" userId="c9f7ce73-3914-45e9-b146-61d4329fa8a0" providerId="ADAL" clId="{9A71086D-2E7A-4B58-83EC-7FFD3212F7D3}" dt="2025-02-27T18:47:10.422" v="4846" actId="122"/>
          <ac:spMkLst>
            <pc:docMk/>
            <pc:sldMk cId="2521561235" sldId="281"/>
            <ac:spMk id="38" creationId="{A4007C71-3597-1FFF-558D-86CA1E14CB49}"/>
          </ac:spMkLst>
        </pc:spChg>
        <pc:picChg chg="add mod">
          <ac:chgData name="Verderame, Laura" userId="c9f7ce73-3914-45e9-b146-61d4329fa8a0" providerId="ADAL" clId="{9A71086D-2E7A-4B58-83EC-7FFD3212F7D3}" dt="2025-02-26T21:40:59.189" v="4559" actId="1076"/>
          <ac:picMkLst>
            <pc:docMk/>
            <pc:sldMk cId="2521561235" sldId="281"/>
            <ac:picMk id="36" creationId="{F8912CD1-9354-065E-9487-D4CB9E534B84}"/>
          </ac:picMkLst>
        </pc:picChg>
      </pc:sldChg>
      <pc:sldChg chg="addSp modSp add del mod">
        <pc:chgData name="Verderame, Laura" userId="c9f7ce73-3914-45e9-b146-61d4329fa8a0" providerId="ADAL" clId="{9A71086D-2E7A-4B58-83EC-7FFD3212F7D3}" dt="2025-02-27T21:16:19.950" v="6970"/>
        <pc:sldMkLst>
          <pc:docMk/>
          <pc:sldMk cId="826205864" sldId="289"/>
        </pc:sldMkLst>
      </pc:sldChg>
      <pc:sldChg chg="modSp add mod">
        <pc:chgData name="Verderame, Laura" userId="c9f7ce73-3914-45e9-b146-61d4329fa8a0" providerId="ADAL" clId="{9A71086D-2E7A-4B58-83EC-7FFD3212F7D3}" dt="2025-03-05T18:30:42.176" v="8789" actId="113"/>
        <pc:sldMkLst>
          <pc:docMk/>
          <pc:sldMk cId="3042050149" sldId="297"/>
        </pc:sldMkLst>
        <pc:spChg chg="mod">
          <ac:chgData name="Verderame, Laura" userId="c9f7ce73-3914-45e9-b146-61d4329fa8a0" providerId="ADAL" clId="{9A71086D-2E7A-4B58-83EC-7FFD3212F7D3}" dt="2025-02-27T21:43:11.349" v="7264" actId="20577"/>
          <ac:spMkLst>
            <pc:docMk/>
            <pc:sldMk cId="3042050149" sldId="297"/>
            <ac:spMk id="2" creationId="{00000000-0000-0000-0000-000000000000}"/>
          </ac:spMkLst>
        </pc:spChg>
        <pc:spChg chg="mod">
          <ac:chgData name="Verderame, Laura" userId="c9f7ce73-3914-45e9-b146-61d4329fa8a0" providerId="ADAL" clId="{9A71086D-2E7A-4B58-83EC-7FFD3212F7D3}" dt="2025-03-05T18:30:42.176" v="8789" actId="113"/>
          <ac:spMkLst>
            <pc:docMk/>
            <pc:sldMk cId="3042050149" sldId="297"/>
            <ac:spMk id="3" creationId="{00000000-0000-0000-0000-000000000000}"/>
          </ac:spMkLst>
        </pc:spChg>
        <pc:spChg chg="mod">
          <ac:chgData name="Verderame, Laura" userId="c9f7ce73-3914-45e9-b146-61d4329fa8a0" providerId="ADAL" clId="{9A71086D-2E7A-4B58-83EC-7FFD3212F7D3}" dt="2025-03-05T17:52:35.192" v="8012" actId="20577"/>
          <ac:spMkLst>
            <pc:docMk/>
            <pc:sldMk cId="3042050149" sldId="297"/>
            <ac:spMk id="11" creationId="{00000000-0000-0000-0000-000000000000}"/>
          </ac:spMkLst>
        </pc:spChg>
      </pc:sldChg>
      <pc:sldChg chg="delSp modSp mod ord">
        <pc:chgData name="Verderame, Laura" userId="c9f7ce73-3914-45e9-b146-61d4329fa8a0" providerId="ADAL" clId="{9A71086D-2E7A-4B58-83EC-7FFD3212F7D3}" dt="2025-03-05T17:55:10.768" v="8019" actId="14100"/>
        <pc:sldMkLst>
          <pc:docMk/>
          <pc:sldMk cId="795699475" sldId="302"/>
        </pc:sldMkLst>
        <pc:spChg chg="mod">
          <ac:chgData name="Verderame, Laura" userId="c9f7ce73-3914-45e9-b146-61d4329fa8a0" providerId="ADAL" clId="{9A71086D-2E7A-4B58-83EC-7FFD3212F7D3}" dt="2025-03-05T16:57:03.889" v="7384" actId="20577"/>
          <ac:spMkLst>
            <pc:docMk/>
            <pc:sldMk cId="795699475" sldId="302"/>
            <ac:spMk id="4" creationId="{AA175D38-1944-1932-38D0-70D6AB7E0A7C}"/>
          </ac:spMkLst>
        </pc:spChg>
        <pc:spChg chg="mod">
          <ac:chgData name="Verderame, Laura" userId="c9f7ce73-3914-45e9-b146-61d4329fa8a0" providerId="ADAL" clId="{9A71086D-2E7A-4B58-83EC-7FFD3212F7D3}" dt="2025-03-05T17:55:10.768" v="8019" actId="14100"/>
          <ac:spMkLst>
            <pc:docMk/>
            <pc:sldMk cId="795699475" sldId="302"/>
            <ac:spMk id="7" creationId="{A9A801B8-19FE-BA1F-C0E2-F9E9A6C04BDB}"/>
          </ac:spMkLst>
        </pc:spChg>
        <pc:spChg chg="mod">
          <ac:chgData name="Verderame, Laura" userId="c9f7ce73-3914-45e9-b146-61d4329fa8a0" providerId="ADAL" clId="{9A71086D-2E7A-4B58-83EC-7FFD3212F7D3}" dt="2025-02-27T21:42:43.871" v="7234" actId="255"/>
          <ac:spMkLst>
            <pc:docMk/>
            <pc:sldMk cId="795699475" sldId="302"/>
            <ac:spMk id="27" creationId="{77FBA4A6-5D3E-088C-4374-11CE4C372B32}"/>
          </ac:spMkLst>
        </pc:spChg>
      </pc:sldChg>
      <pc:sldChg chg="add del">
        <pc:chgData name="Verderame, Laura" userId="c9f7ce73-3914-45e9-b146-61d4329fa8a0" providerId="ADAL" clId="{9A71086D-2E7A-4B58-83EC-7FFD3212F7D3}" dt="2025-02-19T19:16:17.621" v="1393" actId="47"/>
        <pc:sldMkLst>
          <pc:docMk/>
          <pc:sldMk cId="1970949973" sldId="328"/>
        </pc:sldMkLst>
      </pc:sldChg>
      <pc:sldChg chg="addSp delSp modSp add mod">
        <pc:chgData name="Verderame, Laura" userId="c9f7ce73-3914-45e9-b146-61d4329fa8a0" providerId="ADAL" clId="{9A71086D-2E7A-4B58-83EC-7FFD3212F7D3}" dt="2025-03-05T18:33:48.693" v="8823" actId="408"/>
        <pc:sldMkLst>
          <pc:docMk/>
          <pc:sldMk cId="4185844908" sldId="336"/>
        </pc:sldMkLst>
        <pc:spChg chg="add mod">
          <ac:chgData name="Verderame, Laura" userId="c9f7ce73-3914-45e9-b146-61d4329fa8a0" providerId="ADAL" clId="{9A71086D-2E7A-4B58-83EC-7FFD3212F7D3}" dt="2025-03-05T18:31:30.282" v="8790" actId="114"/>
          <ac:spMkLst>
            <pc:docMk/>
            <pc:sldMk cId="4185844908" sldId="336"/>
            <ac:spMk id="8" creationId="{B6C59A82-A450-F1E2-2740-1D69BFD1A7BC}"/>
          </ac:spMkLst>
        </pc:spChg>
        <pc:spChg chg="mod">
          <ac:chgData name="Verderame, Laura" userId="c9f7ce73-3914-45e9-b146-61d4329fa8a0" providerId="ADAL" clId="{9A71086D-2E7A-4B58-83EC-7FFD3212F7D3}" dt="2025-03-05T17:29:42.687" v="7609" actId="207"/>
          <ac:spMkLst>
            <pc:docMk/>
            <pc:sldMk cId="4185844908" sldId="336"/>
            <ac:spMk id="13" creationId="{00000000-0000-0000-0000-000000000000}"/>
          </ac:spMkLst>
        </pc:spChg>
        <pc:spChg chg="mod">
          <ac:chgData name="Verderame, Laura" userId="c9f7ce73-3914-45e9-b146-61d4329fa8a0" providerId="ADAL" clId="{9A71086D-2E7A-4B58-83EC-7FFD3212F7D3}" dt="2025-03-05T17:40:58.672" v="7820"/>
          <ac:spMkLst>
            <pc:docMk/>
            <pc:sldMk cId="4185844908" sldId="336"/>
            <ac:spMk id="14" creationId="{00000000-0000-0000-0000-000000000000}"/>
          </ac:spMkLst>
        </pc:spChg>
        <pc:spChg chg="add mod">
          <ac:chgData name="Verderame, Laura" userId="c9f7ce73-3914-45e9-b146-61d4329fa8a0" providerId="ADAL" clId="{9A71086D-2E7A-4B58-83EC-7FFD3212F7D3}" dt="2025-03-05T17:53:34.058" v="8014"/>
          <ac:spMkLst>
            <pc:docMk/>
            <pc:sldMk cId="4185844908" sldId="336"/>
            <ac:spMk id="27" creationId="{7CF857B2-2304-5428-7868-294FF9F638B1}"/>
          </ac:spMkLst>
        </pc:spChg>
        <pc:picChg chg="mod">
          <ac:chgData name="Verderame, Laura" userId="c9f7ce73-3914-45e9-b146-61d4329fa8a0" providerId="ADAL" clId="{9A71086D-2E7A-4B58-83EC-7FFD3212F7D3}" dt="2025-03-05T18:33:48.693" v="8823" actId="408"/>
          <ac:picMkLst>
            <pc:docMk/>
            <pc:sldMk cId="4185844908" sldId="336"/>
            <ac:picMk id="15" creationId="{00000000-0000-0000-0000-000000000000}"/>
          </ac:picMkLst>
        </pc:picChg>
        <pc:picChg chg="add mod modCrop">
          <ac:chgData name="Verderame, Laura" userId="c9f7ce73-3914-45e9-b146-61d4329fa8a0" providerId="ADAL" clId="{9A71086D-2E7A-4B58-83EC-7FFD3212F7D3}" dt="2025-03-05T18:33:48.693" v="8823" actId="408"/>
          <ac:picMkLst>
            <pc:docMk/>
            <pc:sldMk cId="4185844908" sldId="336"/>
            <ac:picMk id="19" creationId="{78C8DBFB-B131-8422-39BF-66A8B440E25D}"/>
          </ac:picMkLst>
        </pc:picChg>
      </pc:sldChg>
      <pc:sldChg chg="del">
        <pc:chgData name="Verderame, Laura" userId="c9f7ce73-3914-45e9-b146-61d4329fa8a0" providerId="ADAL" clId="{9A71086D-2E7A-4B58-83EC-7FFD3212F7D3}" dt="2025-02-19T18:59:14.516" v="1346" actId="47"/>
        <pc:sldMkLst>
          <pc:docMk/>
          <pc:sldMk cId="1462198432" sldId="1277"/>
        </pc:sldMkLst>
      </pc:sldChg>
      <pc:sldChg chg="addSp delSp modSp mod">
        <pc:chgData name="Verderame, Laura" userId="c9f7ce73-3914-45e9-b146-61d4329fa8a0" providerId="ADAL" clId="{9A71086D-2E7A-4B58-83EC-7FFD3212F7D3}" dt="2025-03-05T17:51:31.572" v="7988" actId="1076"/>
        <pc:sldMkLst>
          <pc:docMk/>
          <pc:sldMk cId="527701164" sldId="1280"/>
        </pc:sldMkLst>
        <pc:spChg chg="mod">
          <ac:chgData name="Verderame, Laura" userId="c9f7ce73-3914-45e9-b146-61d4329fa8a0" providerId="ADAL" clId="{9A71086D-2E7A-4B58-83EC-7FFD3212F7D3}" dt="2025-03-05T17:51:10.271" v="7986" actId="20577"/>
          <ac:spMkLst>
            <pc:docMk/>
            <pc:sldMk cId="527701164" sldId="1280"/>
            <ac:spMk id="2" creationId="{00000000-0000-0000-0000-000000000000}"/>
          </ac:spMkLst>
        </pc:spChg>
        <pc:spChg chg="mod">
          <ac:chgData name="Verderame, Laura" userId="c9f7ce73-3914-45e9-b146-61d4329fa8a0" providerId="ADAL" clId="{9A71086D-2E7A-4B58-83EC-7FFD3212F7D3}" dt="2025-03-05T17:51:31.572" v="7988" actId="1076"/>
          <ac:spMkLst>
            <pc:docMk/>
            <pc:sldMk cId="527701164" sldId="1280"/>
            <ac:spMk id="11" creationId="{00000000-0000-0000-0000-000000000000}"/>
          </ac:spMkLst>
        </pc:spChg>
        <pc:spChg chg="mod">
          <ac:chgData name="Verderame, Laura" userId="c9f7ce73-3914-45e9-b146-61d4329fa8a0" providerId="ADAL" clId="{9A71086D-2E7A-4B58-83EC-7FFD3212F7D3}" dt="2025-03-05T17:51:31.572" v="7988" actId="1076"/>
          <ac:spMkLst>
            <pc:docMk/>
            <pc:sldMk cId="527701164" sldId="1280"/>
            <ac:spMk id="16" creationId="{00000000-0000-0000-0000-000000000000}"/>
          </ac:spMkLst>
        </pc:spChg>
        <pc:spChg chg="mod">
          <ac:chgData name="Verderame, Laura" userId="c9f7ce73-3914-45e9-b146-61d4329fa8a0" providerId="ADAL" clId="{9A71086D-2E7A-4B58-83EC-7FFD3212F7D3}" dt="2025-03-05T17:51:31.572" v="7988" actId="1076"/>
          <ac:spMkLst>
            <pc:docMk/>
            <pc:sldMk cId="527701164" sldId="1280"/>
            <ac:spMk id="28" creationId="{995C520B-2FFC-534B-1504-B1C428525970}"/>
          </ac:spMkLst>
        </pc:spChg>
      </pc:sldChg>
      <pc:sldChg chg="add del ord">
        <pc:chgData name="Verderame, Laura" userId="c9f7ce73-3914-45e9-b146-61d4329fa8a0" providerId="ADAL" clId="{9A71086D-2E7A-4B58-83EC-7FFD3212F7D3}" dt="2025-02-27T21:43:50.483" v="7269" actId="47"/>
        <pc:sldMkLst>
          <pc:docMk/>
          <pc:sldMk cId="1293832485" sldId="1281"/>
        </pc:sldMkLst>
      </pc:sldChg>
      <pc:sldChg chg="addSp delSp modSp del mod">
        <pc:chgData name="Verderame, Laura" userId="c9f7ce73-3914-45e9-b146-61d4329fa8a0" providerId="ADAL" clId="{9A71086D-2E7A-4B58-83EC-7FFD3212F7D3}" dt="2025-02-27T21:13:02.192" v="6936" actId="47"/>
        <pc:sldMkLst>
          <pc:docMk/>
          <pc:sldMk cId="234011112" sldId="1283"/>
        </pc:sldMkLst>
      </pc:sldChg>
      <pc:sldChg chg="del">
        <pc:chgData name="Verderame, Laura" userId="c9f7ce73-3914-45e9-b146-61d4329fa8a0" providerId="ADAL" clId="{9A71086D-2E7A-4B58-83EC-7FFD3212F7D3}" dt="2025-02-27T21:43:50.483" v="7269" actId="47"/>
        <pc:sldMkLst>
          <pc:docMk/>
          <pc:sldMk cId="1366394208" sldId="1284"/>
        </pc:sldMkLst>
      </pc:sldChg>
      <pc:sldChg chg="addSp delSp modSp mod ord">
        <pc:chgData name="Verderame, Laura" userId="c9f7ce73-3914-45e9-b146-61d4329fa8a0" providerId="ADAL" clId="{9A71086D-2E7A-4B58-83EC-7FFD3212F7D3}" dt="2025-03-05T17:51:21.944" v="7987" actId="1076"/>
        <pc:sldMkLst>
          <pc:docMk/>
          <pc:sldMk cId="648499665" sldId="1285"/>
        </pc:sldMkLst>
        <pc:spChg chg="mod">
          <ac:chgData name="Verderame, Laura" userId="c9f7ce73-3914-45e9-b146-61d4329fa8a0" providerId="ADAL" clId="{9A71086D-2E7A-4B58-83EC-7FFD3212F7D3}" dt="2025-03-05T17:51:03.888" v="7985" actId="20577"/>
          <ac:spMkLst>
            <pc:docMk/>
            <pc:sldMk cId="648499665" sldId="1285"/>
            <ac:spMk id="2" creationId="{C4F964E3-94D4-407E-0FB5-DEFFB1666910}"/>
          </ac:spMkLst>
        </pc:spChg>
        <pc:spChg chg="add mod">
          <ac:chgData name="Verderame, Laura" userId="c9f7ce73-3914-45e9-b146-61d4329fa8a0" providerId="ADAL" clId="{9A71086D-2E7A-4B58-83EC-7FFD3212F7D3}" dt="2025-03-05T17:51:21.944" v="7987" actId="1076"/>
          <ac:spMkLst>
            <pc:docMk/>
            <pc:sldMk cId="648499665" sldId="1285"/>
            <ac:spMk id="4" creationId="{F9372BCF-203F-B831-B025-638EECBA0F93}"/>
          </ac:spMkLst>
        </pc:spChg>
        <pc:spChg chg="add mod">
          <ac:chgData name="Verderame, Laura" userId="c9f7ce73-3914-45e9-b146-61d4329fa8a0" providerId="ADAL" clId="{9A71086D-2E7A-4B58-83EC-7FFD3212F7D3}" dt="2025-03-05T17:51:21.944" v="7987" actId="1076"/>
          <ac:spMkLst>
            <pc:docMk/>
            <pc:sldMk cId="648499665" sldId="1285"/>
            <ac:spMk id="5" creationId="{DE7BCA14-D8A8-1AD1-90D8-5EEA8565D59C}"/>
          </ac:spMkLst>
        </pc:spChg>
        <pc:spChg chg="mod">
          <ac:chgData name="Verderame, Laura" userId="c9f7ce73-3914-45e9-b146-61d4329fa8a0" providerId="ADAL" clId="{9A71086D-2E7A-4B58-83EC-7FFD3212F7D3}" dt="2025-02-27T21:42:48.685" v="7235" actId="255"/>
          <ac:spMkLst>
            <pc:docMk/>
            <pc:sldMk cId="648499665" sldId="1285"/>
            <ac:spMk id="9" creationId="{6EBE607D-DC04-FB23-9CD0-1B87D9424F10}"/>
          </ac:spMkLst>
        </pc:spChg>
        <pc:spChg chg="mod">
          <ac:chgData name="Verderame, Laura" userId="c9f7ce73-3914-45e9-b146-61d4329fa8a0" providerId="ADAL" clId="{9A71086D-2E7A-4B58-83EC-7FFD3212F7D3}" dt="2025-03-05T17:51:21.944" v="7987" actId="1076"/>
          <ac:spMkLst>
            <pc:docMk/>
            <pc:sldMk cId="648499665" sldId="1285"/>
            <ac:spMk id="34" creationId="{3E3BA3E8-5DC1-0A1E-C063-22BF9966E4B9}"/>
          </ac:spMkLst>
        </pc:spChg>
        <pc:spChg chg="mod">
          <ac:chgData name="Verderame, Laura" userId="c9f7ce73-3914-45e9-b146-61d4329fa8a0" providerId="ADAL" clId="{9A71086D-2E7A-4B58-83EC-7FFD3212F7D3}" dt="2025-03-05T17:51:21.944" v="7987" actId="1076"/>
          <ac:spMkLst>
            <pc:docMk/>
            <pc:sldMk cId="648499665" sldId="1285"/>
            <ac:spMk id="35" creationId="{CC993B87-B087-08E5-C67D-84ECD7E85FEF}"/>
          </ac:spMkLst>
        </pc:spChg>
        <pc:graphicFrameChg chg="mod">
          <ac:chgData name="Verderame, Laura" userId="c9f7ce73-3914-45e9-b146-61d4329fa8a0" providerId="ADAL" clId="{9A71086D-2E7A-4B58-83EC-7FFD3212F7D3}" dt="2025-03-05T17:51:21.944" v="7987" actId="1076"/>
          <ac:graphicFrameMkLst>
            <pc:docMk/>
            <pc:sldMk cId="648499665" sldId="1285"/>
            <ac:graphicFrameMk id="47" creationId="{FE73F535-9520-4A42-910E-A6E6369420BF}"/>
          </ac:graphicFrameMkLst>
        </pc:graphicFrameChg>
      </pc:sldChg>
      <pc:sldChg chg="addSp modSp new del mod">
        <pc:chgData name="Verderame, Laura" userId="c9f7ce73-3914-45e9-b146-61d4329fa8a0" providerId="ADAL" clId="{9A71086D-2E7A-4B58-83EC-7FFD3212F7D3}" dt="2025-02-27T18:46:15.252" v="4844" actId="47"/>
        <pc:sldMkLst>
          <pc:docMk/>
          <pc:sldMk cId="3649046914" sldId="1286"/>
        </pc:sldMkLst>
      </pc:sldChg>
      <pc:sldChg chg="addSp delSp modSp new mod modNotesTx">
        <pc:chgData name="Verderame, Laura" userId="c9f7ce73-3914-45e9-b146-61d4329fa8a0" providerId="ADAL" clId="{9A71086D-2E7A-4B58-83EC-7FFD3212F7D3}" dt="2025-03-05T17:16:51.499" v="7596" actId="122"/>
        <pc:sldMkLst>
          <pc:docMk/>
          <pc:sldMk cId="1176911654" sldId="1287"/>
        </pc:sldMkLst>
        <pc:spChg chg="add del mod">
          <ac:chgData name="Verderame, Laura" userId="c9f7ce73-3914-45e9-b146-61d4329fa8a0" providerId="ADAL" clId="{9A71086D-2E7A-4B58-83EC-7FFD3212F7D3}" dt="2025-03-05T17:16:51.499" v="7596" actId="122"/>
          <ac:spMkLst>
            <pc:docMk/>
            <pc:sldMk cId="1176911654" sldId="1287"/>
            <ac:spMk id="2" creationId="{7A552D77-FE54-772B-2B8D-70F319A8A87B}"/>
          </ac:spMkLst>
        </pc:spChg>
        <pc:spChg chg="add mod">
          <ac:chgData name="Verderame, Laura" userId="c9f7ce73-3914-45e9-b146-61d4329fa8a0" providerId="ADAL" clId="{9A71086D-2E7A-4B58-83EC-7FFD3212F7D3}" dt="2025-02-26T20:42:40.054" v="4122" actId="207"/>
          <ac:spMkLst>
            <pc:docMk/>
            <pc:sldMk cId="1176911654" sldId="1287"/>
            <ac:spMk id="8" creationId="{0038479D-B4E0-74CB-B3B2-738B30478162}"/>
          </ac:spMkLst>
        </pc:spChg>
        <pc:picChg chg="add mod">
          <ac:chgData name="Verderame, Laura" userId="c9f7ce73-3914-45e9-b146-61d4329fa8a0" providerId="ADAL" clId="{9A71086D-2E7A-4B58-83EC-7FFD3212F7D3}" dt="2025-03-05T17:16:29.008" v="7580" actId="1076"/>
          <ac:picMkLst>
            <pc:docMk/>
            <pc:sldMk cId="1176911654" sldId="1287"/>
            <ac:picMk id="1026" creationId="{4CCEE4E2-7547-D3F9-72BC-038AC4ABBB64}"/>
          </ac:picMkLst>
        </pc:picChg>
      </pc:sldChg>
      <pc:sldChg chg="addSp delSp modSp new del mod modClrScheme chgLayout">
        <pc:chgData name="Verderame, Laura" userId="c9f7ce73-3914-45e9-b146-61d4329fa8a0" providerId="ADAL" clId="{9A71086D-2E7A-4B58-83EC-7FFD3212F7D3}" dt="2025-02-26T21:01:41.864" v="4245" actId="47"/>
        <pc:sldMkLst>
          <pc:docMk/>
          <pc:sldMk cId="2044102962" sldId="1288"/>
        </pc:sldMkLst>
      </pc:sldChg>
      <pc:sldChg chg="addSp delSp modSp new del mod modClrScheme chgLayout">
        <pc:chgData name="Verderame, Laura" userId="c9f7ce73-3914-45e9-b146-61d4329fa8a0" providerId="ADAL" clId="{9A71086D-2E7A-4B58-83EC-7FFD3212F7D3}" dt="2025-02-26T21:00:27.257" v="4190" actId="47"/>
        <pc:sldMkLst>
          <pc:docMk/>
          <pc:sldMk cId="4065139727" sldId="1289"/>
        </pc:sldMkLst>
      </pc:sldChg>
      <pc:sldChg chg="addSp delSp modSp new del mod">
        <pc:chgData name="Verderame, Laura" userId="c9f7ce73-3914-45e9-b146-61d4329fa8a0" providerId="ADAL" clId="{9A71086D-2E7A-4B58-83EC-7FFD3212F7D3}" dt="2025-02-19T20:40:28.005" v="3976" actId="47"/>
        <pc:sldMkLst>
          <pc:docMk/>
          <pc:sldMk cId="1496000281" sldId="1290"/>
        </pc:sldMkLst>
      </pc:sldChg>
      <pc:sldChg chg="modSp new del mod ord">
        <pc:chgData name="Verderame, Laura" userId="c9f7ce73-3914-45e9-b146-61d4329fa8a0" providerId="ADAL" clId="{9A71086D-2E7A-4B58-83EC-7FFD3212F7D3}" dt="2025-02-19T19:46:35.695" v="2764" actId="47"/>
        <pc:sldMkLst>
          <pc:docMk/>
          <pc:sldMk cId="3241822864" sldId="1291"/>
        </pc:sldMkLst>
      </pc:sldChg>
      <pc:sldChg chg="modSp new del mod">
        <pc:chgData name="Verderame, Laura" userId="c9f7ce73-3914-45e9-b146-61d4329fa8a0" providerId="ADAL" clId="{9A71086D-2E7A-4B58-83EC-7FFD3212F7D3}" dt="2025-02-26T21:42:25.506" v="4611" actId="47"/>
        <pc:sldMkLst>
          <pc:docMk/>
          <pc:sldMk cId="2952982912" sldId="1292"/>
        </pc:sldMkLst>
      </pc:sldChg>
      <pc:sldChg chg="add del">
        <pc:chgData name="Verderame, Laura" userId="c9f7ce73-3914-45e9-b146-61d4329fa8a0" providerId="ADAL" clId="{9A71086D-2E7A-4B58-83EC-7FFD3212F7D3}" dt="2025-02-26T21:41:14.123" v="4560" actId="47"/>
        <pc:sldMkLst>
          <pc:docMk/>
          <pc:sldMk cId="331345958" sldId="1293"/>
        </pc:sldMkLst>
      </pc:sldChg>
      <pc:sldChg chg="addSp delSp modSp new add del mod">
        <pc:chgData name="Verderame, Laura" userId="c9f7ce73-3914-45e9-b146-61d4329fa8a0" providerId="ADAL" clId="{9A71086D-2E7A-4B58-83EC-7FFD3212F7D3}" dt="2025-02-27T20:32:09.667" v="5979" actId="47"/>
        <pc:sldMkLst>
          <pc:docMk/>
          <pc:sldMk cId="2104251249" sldId="1294"/>
        </pc:sldMkLst>
      </pc:sldChg>
      <pc:sldChg chg="modSp new del mod">
        <pc:chgData name="Verderame, Laura" userId="c9f7ce73-3914-45e9-b146-61d4329fa8a0" providerId="ADAL" clId="{9A71086D-2E7A-4B58-83EC-7FFD3212F7D3}" dt="2025-02-27T21:42:56.779" v="7236" actId="47"/>
        <pc:sldMkLst>
          <pc:docMk/>
          <pc:sldMk cId="235389505" sldId="1295"/>
        </pc:sldMkLst>
      </pc:sldChg>
      <pc:sldChg chg="addSp delSp modSp add mod">
        <pc:chgData name="Verderame, Laura" userId="c9f7ce73-3914-45e9-b146-61d4329fa8a0" providerId="ADAL" clId="{9A71086D-2E7A-4B58-83EC-7FFD3212F7D3}" dt="2025-02-27T18:35:49.067" v="4739" actId="20577"/>
        <pc:sldMkLst>
          <pc:docMk/>
          <pc:sldMk cId="495260079" sldId="1296"/>
        </pc:sldMkLst>
        <pc:spChg chg="mod">
          <ac:chgData name="Verderame, Laura" userId="c9f7ce73-3914-45e9-b146-61d4329fa8a0" providerId="ADAL" clId="{9A71086D-2E7A-4B58-83EC-7FFD3212F7D3}" dt="2025-02-27T18:35:49.067" v="4739" actId="20577"/>
          <ac:spMkLst>
            <pc:docMk/>
            <pc:sldMk cId="495260079" sldId="1296"/>
            <ac:spMk id="2" creationId="{BF843557-9874-774D-D3C6-7D1173238EE6}"/>
          </ac:spMkLst>
        </pc:spChg>
        <pc:spChg chg="add mod ord">
          <ac:chgData name="Verderame, Laura" userId="c9f7ce73-3914-45e9-b146-61d4329fa8a0" providerId="ADAL" clId="{9A71086D-2E7A-4B58-83EC-7FFD3212F7D3}" dt="2025-02-19T20:19:06.862" v="3786" actId="1076"/>
          <ac:spMkLst>
            <pc:docMk/>
            <pc:sldMk cId="495260079" sldId="1296"/>
            <ac:spMk id="16" creationId="{7DE4F683-049D-4E2E-B5D8-F99569D1DEF2}"/>
          </ac:spMkLst>
        </pc:spChg>
        <pc:spChg chg="mod">
          <ac:chgData name="Verderame, Laura" userId="c9f7ce73-3914-45e9-b146-61d4329fa8a0" providerId="ADAL" clId="{9A71086D-2E7A-4B58-83EC-7FFD3212F7D3}" dt="2025-02-19T20:42:22.393" v="4055" actId="255"/>
          <ac:spMkLst>
            <pc:docMk/>
            <pc:sldMk cId="495260079" sldId="1296"/>
            <ac:spMk id="24" creationId="{2F1CC43A-EBFF-1B5F-0CFF-0EE6E81FE5C1}"/>
          </ac:spMkLst>
        </pc:spChg>
        <pc:spChg chg="mod">
          <ac:chgData name="Verderame, Laura" userId="c9f7ce73-3914-45e9-b146-61d4329fa8a0" providerId="ADAL" clId="{9A71086D-2E7A-4B58-83EC-7FFD3212F7D3}" dt="2025-02-19T20:19:06.862" v="3786" actId="1076"/>
          <ac:spMkLst>
            <pc:docMk/>
            <pc:sldMk cId="495260079" sldId="1296"/>
            <ac:spMk id="36" creationId="{BE026A0A-0A12-E861-0B33-97769A87F605}"/>
          </ac:spMkLst>
        </pc:spChg>
        <pc:spChg chg="mod">
          <ac:chgData name="Verderame, Laura" userId="c9f7ce73-3914-45e9-b146-61d4329fa8a0" providerId="ADAL" clId="{9A71086D-2E7A-4B58-83EC-7FFD3212F7D3}" dt="2025-02-19T20:42:41.748" v="4058" actId="255"/>
          <ac:spMkLst>
            <pc:docMk/>
            <pc:sldMk cId="495260079" sldId="1296"/>
            <ac:spMk id="37" creationId="{21BAC00E-4D3C-92BE-464F-8833398043D2}"/>
          </ac:spMkLst>
        </pc:spChg>
        <pc:spChg chg="mod">
          <ac:chgData name="Verderame, Laura" userId="c9f7ce73-3914-45e9-b146-61d4329fa8a0" providerId="ADAL" clId="{9A71086D-2E7A-4B58-83EC-7FFD3212F7D3}" dt="2025-02-19T20:19:06.862" v="3786" actId="1076"/>
          <ac:spMkLst>
            <pc:docMk/>
            <pc:sldMk cId="495260079" sldId="1296"/>
            <ac:spMk id="53" creationId="{00D1423B-0B13-4275-6323-81242E3636C1}"/>
          </ac:spMkLst>
        </pc:spChg>
        <pc:spChg chg="mod">
          <ac:chgData name="Verderame, Laura" userId="c9f7ce73-3914-45e9-b146-61d4329fa8a0" providerId="ADAL" clId="{9A71086D-2E7A-4B58-83EC-7FFD3212F7D3}" dt="2025-02-19T20:42:36.859" v="4057" actId="255"/>
          <ac:spMkLst>
            <pc:docMk/>
            <pc:sldMk cId="495260079" sldId="1296"/>
            <ac:spMk id="54" creationId="{05399837-F40F-60A3-65C4-EF51FF3329F3}"/>
          </ac:spMkLst>
        </pc:spChg>
        <pc:spChg chg="mod">
          <ac:chgData name="Verderame, Laura" userId="c9f7ce73-3914-45e9-b146-61d4329fa8a0" providerId="ADAL" clId="{9A71086D-2E7A-4B58-83EC-7FFD3212F7D3}" dt="2025-02-19T20:19:06.862" v="3786" actId="1076"/>
          <ac:spMkLst>
            <pc:docMk/>
            <pc:sldMk cId="495260079" sldId="1296"/>
            <ac:spMk id="56" creationId="{7C8921A2-49AD-0DB0-97F8-B84DC6766F3D}"/>
          </ac:spMkLst>
        </pc:spChg>
        <pc:spChg chg="mod">
          <ac:chgData name="Verderame, Laura" userId="c9f7ce73-3914-45e9-b146-61d4329fa8a0" providerId="ADAL" clId="{9A71086D-2E7A-4B58-83EC-7FFD3212F7D3}" dt="2025-02-19T20:19:06.862" v="3786" actId="1076"/>
          <ac:spMkLst>
            <pc:docMk/>
            <pc:sldMk cId="495260079" sldId="1296"/>
            <ac:spMk id="62" creationId="{78722C0E-FE8F-7CB0-ABB0-320C971F0AC5}"/>
          </ac:spMkLst>
        </pc:spChg>
        <pc:spChg chg="mod">
          <ac:chgData name="Verderame, Laura" userId="c9f7ce73-3914-45e9-b146-61d4329fa8a0" providerId="ADAL" clId="{9A71086D-2E7A-4B58-83EC-7FFD3212F7D3}" dt="2025-02-19T20:42:29.415" v="4056" actId="255"/>
          <ac:spMkLst>
            <pc:docMk/>
            <pc:sldMk cId="495260079" sldId="1296"/>
            <ac:spMk id="63" creationId="{2C769AD0-7441-DABF-5A8B-513E905F0F77}"/>
          </ac:spMkLst>
        </pc:spChg>
        <pc:spChg chg="mod">
          <ac:chgData name="Verderame, Laura" userId="c9f7ce73-3914-45e9-b146-61d4329fa8a0" providerId="ADAL" clId="{9A71086D-2E7A-4B58-83EC-7FFD3212F7D3}" dt="2025-02-19T20:19:06.862" v="3786" actId="1076"/>
          <ac:spMkLst>
            <pc:docMk/>
            <pc:sldMk cId="495260079" sldId="1296"/>
            <ac:spMk id="1029" creationId="{E03AAD63-8E3E-2489-A365-71BD09A2C23C}"/>
          </ac:spMkLst>
        </pc:spChg>
        <pc:spChg chg="mod">
          <ac:chgData name="Verderame, Laura" userId="c9f7ce73-3914-45e9-b146-61d4329fa8a0" providerId="ADAL" clId="{9A71086D-2E7A-4B58-83EC-7FFD3212F7D3}" dt="2025-02-19T20:42:46.051" v="4059" actId="255"/>
          <ac:spMkLst>
            <pc:docMk/>
            <pc:sldMk cId="495260079" sldId="1296"/>
            <ac:spMk id="1030" creationId="{86EB1DC3-1526-DF5D-94D8-C82E1E828866}"/>
          </ac:spMkLst>
        </pc:spChg>
        <pc:spChg chg="mod">
          <ac:chgData name="Verderame, Laura" userId="c9f7ce73-3914-45e9-b146-61d4329fa8a0" providerId="ADAL" clId="{9A71086D-2E7A-4B58-83EC-7FFD3212F7D3}" dt="2025-02-19T20:19:06.862" v="3786" actId="1076"/>
          <ac:spMkLst>
            <pc:docMk/>
            <pc:sldMk cId="495260079" sldId="1296"/>
            <ac:spMk id="1033" creationId="{3E33D7CE-F36A-8644-9C85-D0C405657523}"/>
          </ac:spMkLst>
        </pc:spChg>
        <pc:spChg chg="mod">
          <ac:chgData name="Verderame, Laura" userId="c9f7ce73-3914-45e9-b146-61d4329fa8a0" providerId="ADAL" clId="{9A71086D-2E7A-4B58-83EC-7FFD3212F7D3}" dt="2025-02-19T20:42:50.624" v="4060" actId="255"/>
          <ac:spMkLst>
            <pc:docMk/>
            <pc:sldMk cId="495260079" sldId="1296"/>
            <ac:spMk id="1034" creationId="{714573DC-57A5-A394-BBCB-00967BCCFD79}"/>
          </ac:spMkLst>
        </pc:spChg>
        <pc:spChg chg="add mod ord">
          <ac:chgData name="Verderame, Laura" userId="c9f7ce73-3914-45e9-b146-61d4329fa8a0" providerId="ADAL" clId="{9A71086D-2E7A-4B58-83EC-7FFD3212F7D3}" dt="2025-02-19T20:21:02.889" v="3796" actId="207"/>
          <ac:spMkLst>
            <pc:docMk/>
            <pc:sldMk cId="495260079" sldId="1296"/>
            <ac:spMk id="1037" creationId="{FFFB3CA7-47AA-B0B9-40DD-6E03791081FA}"/>
          </ac:spMkLst>
        </pc:spChg>
        <pc:spChg chg="add mod">
          <ac:chgData name="Verderame, Laura" userId="c9f7ce73-3914-45e9-b146-61d4329fa8a0" providerId="ADAL" clId="{9A71086D-2E7A-4B58-83EC-7FFD3212F7D3}" dt="2025-02-19T20:43:09.956" v="4061" actId="14100"/>
          <ac:spMkLst>
            <pc:docMk/>
            <pc:sldMk cId="495260079" sldId="1296"/>
            <ac:spMk id="1038" creationId="{1DB03B92-AC30-BF7A-10E4-5025AF45576E}"/>
          </ac:spMkLst>
        </pc:spChg>
        <pc:spChg chg="add mod">
          <ac:chgData name="Verderame, Laura" userId="c9f7ce73-3914-45e9-b146-61d4329fa8a0" providerId="ADAL" clId="{9A71086D-2E7A-4B58-83EC-7FFD3212F7D3}" dt="2025-02-19T20:27:00.881" v="3864" actId="1076"/>
          <ac:spMkLst>
            <pc:docMk/>
            <pc:sldMk cId="495260079" sldId="1296"/>
            <ac:spMk id="1040" creationId="{433E1069-8D39-A8F7-7046-856C6305103E}"/>
          </ac:spMkLst>
        </pc:spChg>
        <pc:spChg chg="add mod">
          <ac:chgData name="Verderame, Laura" userId="c9f7ce73-3914-45e9-b146-61d4329fa8a0" providerId="ADAL" clId="{9A71086D-2E7A-4B58-83EC-7FFD3212F7D3}" dt="2025-02-19T20:28:16.536" v="3883" actId="1076"/>
          <ac:spMkLst>
            <pc:docMk/>
            <pc:sldMk cId="495260079" sldId="1296"/>
            <ac:spMk id="1042" creationId="{DCE60397-07CA-9637-131A-A583BD1126C5}"/>
          </ac:spMkLst>
        </pc:spChg>
        <pc:spChg chg="add mod">
          <ac:chgData name="Verderame, Laura" userId="c9f7ce73-3914-45e9-b146-61d4329fa8a0" providerId="ADAL" clId="{9A71086D-2E7A-4B58-83EC-7FFD3212F7D3}" dt="2025-02-19T20:27:59.326" v="3879" actId="1076"/>
          <ac:spMkLst>
            <pc:docMk/>
            <pc:sldMk cId="495260079" sldId="1296"/>
            <ac:spMk id="1044" creationId="{B7801816-28F1-3747-32BD-CFB5F9C1AC67}"/>
          </ac:spMkLst>
        </pc:spChg>
        <pc:spChg chg="add mod">
          <ac:chgData name="Verderame, Laura" userId="c9f7ce73-3914-45e9-b146-61d4329fa8a0" providerId="ADAL" clId="{9A71086D-2E7A-4B58-83EC-7FFD3212F7D3}" dt="2025-02-19T20:28:37.895" v="3892" actId="1076"/>
          <ac:spMkLst>
            <pc:docMk/>
            <pc:sldMk cId="495260079" sldId="1296"/>
            <ac:spMk id="1046" creationId="{6325C087-E5A7-89EF-BF73-E02AC311E640}"/>
          </ac:spMkLst>
        </pc:spChg>
        <pc:spChg chg="add mod">
          <ac:chgData name="Verderame, Laura" userId="c9f7ce73-3914-45e9-b146-61d4329fa8a0" providerId="ADAL" clId="{9A71086D-2E7A-4B58-83EC-7FFD3212F7D3}" dt="2025-02-19T20:29:39.409" v="3915" actId="1076"/>
          <ac:spMkLst>
            <pc:docMk/>
            <pc:sldMk cId="495260079" sldId="1296"/>
            <ac:spMk id="1050" creationId="{CE18A759-C91D-264D-FD93-8D51A9D895E5}"/>
          </ac:spMkLst>
        </pc:spChg>
        <pc:spChg chg="add mod">
          <ac:chgData name="Verderame, Laura" userId="c9f7ce73-3914-45e9-b146-61d4329fa8a0" providerId="ADAL" clId="{9A71086D-2E7A-4B58-83EC-7FFD3212F7D3}" dt="2025-02-19T20:38:00.469" v="3956" actId="1076"/>
          <ac:spMkLst>
            <pc:docMk/>
            <pc:sldMk cId="495260079" sldId="1296"/>
            <ac:spMk id="1054" creationId="{4639764D-6067-FA5F-0EE5-5DAB769F7A78}"/>
          </ac:spMkLst>
        </pc:spChg>
        <pc:spChg chg="add mod">
          <ac:chgData name="Verderame, Laura" userId="c9f7ce73-3914-45e9-b146-61d4329fa8a0" providerId="ADAL" clId="{9A71086D-2E7A-4B58-83EC-7FFD3212F7D3}" dt="2025-02-19T20:38:21.984" v="3964" actId="1076"/>
          <ac:spMkLst>
            <pc:docMk/>
            <pc:sldMk cId="495260079" sldId="1296"/>
            <ac:spMk id="1056" creationId="{28BD45BB-3246-F925-9260-780CB3831AE5}"/>
          </ac:spMkLst>
        </pc:spChg>
        <pc:grpChg chg="add del mod">
          <ac:chgData name="Verderame, Laura" userId="c9f7ce73-3914-45e9-b146-61d4329fa8a0" providerId="ADAL" clId="{9A71086D-2E7A-4B58-83EC-7FFD3212F7D3}" dt="2025-02-19T20:19:06.862" v="3786" actId="1076"/>
          <ac:grpSpMkLst>
            <pc:docMk/>
            <pc:sldMk cId="495260079" sldId="1296"/>
            <ac:grpSpMk id="20" creationId="{CBCF53C3-C569-A47D-AFFD-55719C3B0CFF}"/>
          </ac:grpSpMkLst>
        </pc:grpChg>
        <pc:grpChg chg="add mod">
          <ac:chgData name="Verderame, Laura" userId="c9f7ce73-3914-45e9-b146-61d4329fa8a0" providerId="ADAL" clId="{9A71086D-2E7A-4B58-83EC-7FFD3212F7D3}" dt="2025-02-19T20:19:06.862" v="3786" actId="1076"/>
          <ac:grpSpMkLst>
            <pc:docMk/>
            <pc:sldMk cId="495260079" sldId="1296"/>
            <ac:grpSpMk id="35" creationId="{DBAD63F7-4EBA-AC36-8A49-A734DAE814C1}"/>
          </ac:grpSpMkLst>
        </pc:grpChg>
        <pc:grpChg chg="add mod">
          <ac:chgData name="Verderame, Laura" userId="c9f7ce73-3914-45e9-b146-61d4329fa8a0" providerId="ADAL" clId="{9A71086D-2E7A-4B58-83EC-7FFD3212F7D3}" dt="2025-02-19T20:19:06.862" v="3786" actId="1076"/>
          <ac:grpSpMkLst>
            <pc:docMk/>
            <pc:sldMk cId="495260079" sldId="1296"/>
            <ac:grpSpMk id="52" creationId="{D0AFC312-2F3E-8214-230E-34AD5E873380}"/>
          </ac:grpSpMkLst>
        </pc:grpChg>
        <pc:grpChg chg="add mod">
          <ac:chgData name="Verderame, Laura" userId="c9f7ce73-3914-45e9-b146-61d4329fa8a0" providerId="ADAL" clId="{9A71086D-2E7A-4B58-83EC-7FFD3212F7D3}" dt="2025-02-19T20:19:06.862" v="3786" actId="1076"/>
          <ac:grpSpMkLst>
            <pc:docMk/>
            <pc:sldMk cId="495260079" sldId="1296"/>
            <ac:grpSpMk id="55" creationId="{A97058AE-937B-1D2C-F1A5-06FD56178238}"/>
          </ac:grpSpMkLst>
        </pc:grpChg>
        <pc:grpChg chg="add mod">
          <ac:chgData name="Verderame, Laura" userId="c9f7ce73-3914-45e9-b146-61d4329fa8a0" providerId="ADAL" clId="{9A71086D-2E7A-4B58-83EC-7FFD3212F7D3}" dt="2025-02-19T20:19:06.862" v="3786" actId="1076"/>
          <ac:grpSpMkLst>
            <pc:docMk/>
            <pc:sldMk cId="495260079" sldId="1296"/>
            <ac:grpSpMk id="61" creationId="{CC11A00C-3241-CE21-DAAF-14DA4EFBAB44}"/>
          </ac:grpSpMkLst>
        </pc:grpChg>
        <pc:grpChg chg="add mod ord">
          <ac:chgData name="Verderame, Laura" userId="c9f7ce73-3914-45e9-b146-61d4329fa8a0" providerId="ADAL" clId="{9A71086D-2E7A-4B58-83EC-7FFD3212F7D3}" dt="2025-02-19T20:20:47.939" v="3791" actId="167"/>
          <ac:grpSpMkLst>
            <pc:docMk/>
            <pc:sldMk cId="495260079" sldId="1296"/>
            <ac:grpSpMk id="1027" creationId="{FDF662FF-BE47-AEC6-7091-76F77785B118}"/>
          </ac:grpSpMkLst>
        </pc:grpChg>
        <pc:grpChg chg="add mod">
          <ac:chgData name="Verderame, Laura" userId="c9f7ce73-3914-45e9-b146-61d4329fa8a0" providerId="ADAL" clId="{9A71086D-2E7A-4B58-83EC-7FFD3212F7D3}" dt="2025-02-19T20:19:06.862" v="3786" actId="1076"/>
          <ac:grpSpMkLst>
            <pc:docMk/>
            <pc:sldMk cId="495260079" sldId="1296"/>
            <ac:grpSpMk id="1032" creationId="{3F39D197-3CA1-CDCE-7628-0EFF6E338CFA}"/>
          </ac:grpSpMkLst>
        </pc:grpChg>
        <pc:picChg chg="add mod">
          <ac:chgData name="Verderame, Laura" userId="c9f7ce73-3914-45e9-b146-61d4329fa8a0" providerId="ADAL" clId="{9A71086D-2E7A-4B58-83EC-7FFD3212F7D3}" dt="2025-02-19T20:19:06.862" v="3786" actId="1076"/>
          <ac:picMkLst>
            <pc:docMk/>
            <pc:sldMk cId="495260079" sldId="1296"/>
            <ac:picMk id="44" creationId="{D4BF3F60-1D6B-B711-38B6-84E6FBB3248F}"/>
          </ac:picMkLst>
        </pc:picChg>
        <pc:picChg chg="mod">
          <ac:chgData name="Verderame, Laura" userId="c9f7ce73-3914-45e9-b146-61d4329fa8a0" providerId="ADAL" clId="{9A71086D-2E7A-4B58-83EC-7FFD3212F7D3}" dt="2025-02-19T20:19:06.862" v="3786" actId="1076"/>
          <ac:picMkLst>
            <pc:docMk/>
            <pc:sldMk cId="495260079" sldId="1296"/>
            <ac:picMk id="57" creationId="{B698AEE2-20E0-C6E4-037D-6664F91509DC}"/>
          </ac:picMkLst>
        </pc:picChg>
        <pc:picChg chg="add mod">
          <ac:chgData name="Verderame, Laura" userId="c9f7ce73-3914-45e9-b146-61d4329fa8a0" providerId="ADAL" clId="{9A71086D-2E7A-4B58-83EC-7FFD3212F7D3}" dt="2025-02-19T20:19:06.862" v="3786" actId="1076"/>
          <ac:picMkLst>
            <pc:docMk/>
            <pc:sldMk cId="495260079" sldId="1296"/>
            <ac:picMk id="1024" creationId="{33D89BD5-C94E-F6A1-5AAE-2885765B78D6}"/>
          </ac:picMkLst>
        </pc:picChg>
        <pc:picChg chg="add mod">
          <ac:chgData name="Verderame, Laura" userId="c9f7ce73-3914-45e9-b146-61d4329fa8a0" providerId="ADAL" clId="{9A71086D-2E7A-4B58-83EC-7FFD3212F7D3}" dt="2025-02-19T20:19:06.862" v="3786" actId="1076"/>
          <ac:picMkLst>
            <pc:docMk/>
            <pc:sldMk cId="495260079" sldId="1296"/>
            <ac:picMk id="1025" creationId="{F21C775F-DE58-EA70-EB06-DE5E8E7B24B8}"/>
          </ac:picMkLst>
        </pc:picChg>
        <pc:picChg chg="add mod ord">
          <ac:chgData name="Verderame, Laura" userId="c9f7ce73-3914-45e9-b146-61d4329fa8a0" providerId="ADAL" clId="{9A71086D-2E7A-4B58-83EC-7FFD3212F7D3}" dt="2025-02-19T20:21:20.430" v="3801" actId="166"/>
          <ac:picMkLst>
            <pc:docMk/>
            <pc:sldMk cId="495260079" sldId="1296"/>
            <ac:picMk id="1036" creationId="{FFE4D12E-4C62-007A-559C-B1C8A1418114}"/>
          </ac:picMkLst>
        </pc:picChg>
        <pc:picChg chg="add mod ord">
          <ac:chgData name="Verderame, Laura" userId="c9f7ce73-3914-45e9-b146-61d4329fa8a0" providerId="ADAL" clId="{9A71086D-2E7A-4B58-83EC-7FFD3212F7D3}" dt="2025-02-19T20:38:43.002" v="3974" actId="1076"/>
          <ac:picMkLst>
            <pc:docMk/>
            <pc:sldMk cId="495260079" sldId="1296"/>
            <ac:picMk id="1055" creationId="{33163225-9316-2381-C8D8-1030EC26FAEC}"/>
          </ac:picMkLst>
        </pc:picChg>
      </pc:sldChg>
      <pc:sldChg chg="modSp add del">
        <pc:chgData name="Verderame, Laura" userId="c9f7ce73-3914-45e9-b146-61d4329fa8a0" providerId="ADAL" clId="{9A71086D-2E7A-4B58-83EC-7FFD3212F7D3}" dt="2025-02-19T20:05:08.233" v="3492" actId="47"/>
        <pc:sldMkLst>
          <pc:docMk/>
          <pc:sldMk cId="742703085" sldId="1296"/>
        </pc:sldMkLst>
      </pc:sldChg>
      <pc:sldChg chg="add del">
        <pc:chgData name="Verderame, Laura" userId="c9f7ce73-3914-45e9-b146-61d4329fa8a0" providerId="ADAL" clId="{9A71086D-2E7A-4B58-83EC-7FFD3212F7D3}" dt="2025-02-19T19:16:17.008" v="1392" actId="47"/>
        <pc:sldMkLst>
          <pc:docMk/>
          <pc:sldMk cId="2031451123" sldId="1296"/>
        </pc:sldMkLst>
      </pc:sldChg>
      <pc:sldChg chg="addSp delSp modSp add mod modNotesTx">
        <pc:chgData name="Verderame, Laura" userId="c9f7ce73-3914-45e9-b146-61d4329fa8a0" providerId="ADAL" clId="{9A71086D-2E7A-4B58-83EC-7FFD3212F7D3}" dt="2025-02-27T21:02:44.327" v="6684" actId="1076"/>
        <pc:sldMkLst>
          <pc:docMk/>
          <pc:sldMk cId="778916362" sldId="1297"/>
        </pc:sldMkLst>
        <pc:spChg chg="mod">
          <ac:chgData name="Verderame, Laura" userId="c9f7ce73-3914-45e9-b146-61d4329fa8a0" providerId="ADAL" clId="{9A71086D-2E7A-4B58-83EC-7FFD3212F7D3}" dt="2025-02-26T21:01:32.535" v="4239" actId="20577"/>
          <ac:spMkLst>
            <pc:docMk/>
            <pc:sldMk cId="778916362" sldId="1297"/>
            <ac:spMk id="8" creationId="{B9A6510E-31D2-DDDA-417B-C4872E48AFE7}"/>
          </ac:spMkLst>
        </pc:spChg>
        <pc:spChg chg="add del mod">
          <ac:chgData name="Verderame, Laura" userId="c9f7ce73-3914-45e9-b146-61d4329fa8a0" providerId="ADAL" clId="{9A71086D-2E7A-4B58-83EC-7FFD3212F7D3}" dt="2025-02-27T19:37:39.481" v="5397" actId="14100"/>
          <ac:spMkLst>
            <pc:docMk/>
            <pc:sldMk cId="778916362" sldId="1297"/>
            <ac:spMk id="9" creationId="{85C45B5E-21DB-FB76-53B6-46BEBC3B33B2}"/>
          </ac:spMkLst>
        </pc:spChg>
        <pc:spChg chg="add mod">
          <ac:chgData name="Verderame, Laura" userId="c9f7ce73-3914-45e9-b146-61d4329fa8a0" providerId="ADAL" clId="{9A71086D-2E7A-4B58-83EC-7FFD3212F7D3}" dt="2025-02-27T19:37:42.715" v="5398" actId="14100"/>
          <ac:spMkLst>
            <pc:docMk/>
            <pc:sldMk cId="778916362" sldId="1297"/>
            <ac:spMk id="10" creationId="{1A146B97-9981-B5F4-0D56-D17B7D91000B}"/>
          </ac:spMkLst>
        </pc:spChg>
        <pc:spChg chg="add del mod">
          <ac:chgData name="Verderame, Laura" userId="c9f7ce73-3914-45e9-b146-61d4329fa8a0" providerId="ADAL" clId="{9A71086D-2E7A-4B58-83EC-7FFD3212F7D3}" dt="2025-02-27T19:37:45.808" v="5399" actId="1076"/>
          <ac:spMkLst>
            <pc:docMk/>
            <pc:sldMk cId="778916362" sldId="1297"/>
            <ac:spMk id="14" creationId="{ED53619E-F007-6DDF-621E-C12207441CF5}"/>
          </ac:spMkLst>
        </pc:spChg>
        <pc:spChg chg="mod">
          <ac:chgData name="Verderame, Laura" userId="c9f7ce73-3914-45e9-b146-61d4329fa8a0" providerId="ADAL" clId="{9A71086D-2E7A-4B58-83EC-7FFD3212F7D3}" dt="2025-02-27T21:02:44.327" v="6684" actId="1076"/>
          <ac:spMkLst>
            <pc:docMk/>
            <pc:sldMk cId="778916362" sldId="1297"/>
            <ac:spMk id="15" creationId="{06EA329D-3FB4-4F8A-D54F-D1E5368800A7}"/>
          </ac:spMkLst>
        </pc:spChg>
        <pc:spChg chg="add mod">
          <ac:chgData name="Verderame, Laura" userId="c9f7ce73-3914-45e9-b146-61d4329fa8a0" providerId="ADAL" clId="{9A71086D-2E7A-4B58-83EC-7FFD3212F7D3}" dt="2025-02-27T19:37:53.817" v="5402" actId="6549"/>
          <ac:spMkLst>
            <pc:docMk/>
            <pc:sldMk cId="778916362" sldId="1297"/>
            <ac:spMk id="17" creationId="{1B68C98A-BD88-0755-9BE9-AC7AAA0AC606}"/>
          </ac:spMkLst>
        </pc:spChg>
        <pc:grpChg chg="mod">
          <ac:chgData name="Verderame, Laura" userId="c9f7ce73-3914-45e9-b146-61d4329fa8a0" providerId="ADAL" clId="{9A71086D-2E7A-4B58-83EC-7FFD3212F7D3}" dt="2025-02-26T21:05:20.489" v="4375" actId="1076"/>
          <ac:grpSpMkLst>
            <pc:docMk/>
            <pc:sldMk cId="778916362" sldId="1297"/>
            <ac:grpSpMk id="6" creationId="{90E08A8E-16E6-CF6C-DA63-31D9873683AA}"/>
          </ac:grpSpMkLst>
        </pc:grpChg>
        <pc:graphicFrameChg chg="add mod modGraphic">
          <ac:chgData name="Verderame, Laura" userId="c9f7ce73-3914-45e9-b146-61d4329fa8a0" providerId="ADAL" clId="{9A71086D-2E7A-4B58-83EC-7FFD3212F7D3}" dt="2025-02-27T19:36:12.476" v="5373" actId="1076"/>
          <ac:graphicFrameMkLst>
            <pc:docMk/>
            <pc:sldMk cId="778916362" sldId="1297"/>
            <ac:graphicFrameMk id="7" creationId="{F27BB187-C41E-54EA-EF69-C8EEDB499C58}"/>
          </ac:graphicFrameMkLst>
        </pc:graphicFrameChg>
      </pc:sldChg>
      <pc:sldChg chg="add del">
        <pc:chgData name="Verderame, Laura" userId="c9f7ce73-3914-45e9-b146-61d4329fa8a0" providerId="ADAL" clId="{9A71086D-2E7A-4B58-83EC-7FFD3212F7D3}" dt="2025-02-19T20:07:38.959" v="3527"/>
        <pc:sldMkLst>
          <pc:docMk/>
          <pc:sldMk cId="2066706609" sldId="1297"/>
        </pc:sldMkLst>
      </pc:sldChg>
      <pc:sldChg chg="addSp delSp modSp add mod ord modShow modNotesTx">
        <pc:chgData name="Verderame, Laura" userId="c9f7ce73-3914-45e9-b146-61d4329fa8a0" providerId="ADAL" clId="{9A71086D-2E7A-4B58-83EC-7FFD3212F7D3}" dt="2025-03-05T16:51:48.168" v="7318" actId="729"/>
        <pc:sldMkLst>
          <pc:docMk/>
          <pc:sldMk cId="591929439" sldId="1298"/>
        </pc:sldMkLst>
      </pc:sldChg>
      <pc:sldChg chg="delSp add del">
        <pc:chgData name="Verderame, Laura" userId="c9f7ce73-3914-45e9-b146-61d4329fa8a0" providerId="ADAL" clId="{9A71086D-2E7A-4B58-83EC-7FFD3212F7D3}" dt="2025-02-26T21:33:08.972" v="4460" actId="47"/>
        <pc:sldMkLst>
          <pc:docMk/>
          <pc:sldMk cId="2157854348" sldId="1298"/>
        </pc:sldMkLst>
      </pc:sldChg>
      <pc:sldChg chg="addSp delSp modSp add del mod modNotesTx">
        <pc:chgData name="Verderame, Laura" userId="c9f7ce73-3914-45e9-b146-61d4329fa8a0" providerId="ADAL" clId="{9A71086D-2E7A-4B58-83EC-7FFD3212F7D3}" dt="2025-02-26T21:43:56.134" v="4635" actId="47"/>
        <pc:sldMkLst>
          <pc:docMk/>
          <pc:sldMk cId="208900808" sldId="1299"/>
        </pc:sldMkLst>
      </pc:sldChg>
      <pc:sldChg chg="modSp add del mod">
        <pc:chgData name="Verderame, Laura" userId="c9f7ce73-3914-45e9-b146-61d4329fa8a0" providerId="ADAL" clId="{9A71086D-2E7A-4B58-83EC-7FFD3212F7D3}" dt="2025-02-27T19:03:09.952" v="4906" actId="47"/>
        <pc:sldMkLst>
          <pc:docMk/>
          <pc:sldMk cId="2739016139" sldId="1299"/>
        </pc:sldMkLst>
      </pc:sldChg>
      <pc:sldChg chg="addSp delSp modSp add mod modNotesTx">
        <pc:chgData name="Verderame, Laura" userId="c9f7ce73-3914-45e9-b146-61d4329fa8a0" providerId="ADAL" clId="{9A71086D-2E7A-4B58-83EC-7FFD3212F7D3}" dt="2025-03-05T16:52:58.118" v="7332" actId="20577"/>
        <pc:sldMkLst>
          <pc:docMk/>
          <pc:sldMk cId="3716967039" sldId="1299"/>
        </pc:sldMkLst>
        <pc:spChg chg="mod">
          <ac:chgData name="Verderame, Laura" userId="c9f7ce73-3914-45e9-b146-61d4329fa8a0" providerId="ADAL" clId="{9A71086D-2E7A-4B58-83EC-7FFD3212F7D3}" dt="2025-03-05T16:51:17.797" v="7314" actId="20577"/>
          <ac:spMkLst>
            <pc:docMk/>
            <pc:sldMk cId="3716967039" sldId="1299"/>
            <ac:spMk id="8" creationId="{5F5681DD-584D-2155-C5A2-DC83CF3C0A4A}"/>
          </ac:spMkLst>
        </pc:spChg>
        <pc:spChg chg="add mod">
          <ac:chgData name="Verderame, Laura" userId="c9f7ce73-3914-45e9-b146-61d4329fa8a0" providerId="ADAL" clId="{9A71086D-2E7A-4B58-83EC-7FFD3212F7D3}" dt="2025-02-27T20:12:49.977" v="5848" actId="1076"/>
          <ac:spMkLst>
            <pc:docMk/>
            <pc:sldMk cId="3716967039" sldId="1299"/>
            <ac:spMk id="11" creationId="{494B80E3-0132-F4DF-7894-9317900DB575}"/>
          </ac:spMkLst>
        </pc:spChg>
        <pc:spChg chg="mod">
          <ac:chgData name="Verderame, Laura" userId="c9f7ce73-3914-45e9-b146-61d4329fa8a0" providerId="ADAL" clId="{9A71086D-2E7A-4B58-83EC-7FFD3212F7D3}" dt="2025-02-27T21:02:33.136" v="6683" actId="1076"/>
          <ac:spMkLst>
            <pc:docMk/>
            <pc:sldMk cId="3716967039" sldId="1299"/>
            <ac:spMk id="15" creationId="{5B10CFF4-18A9-6E82-EAB9-EA9600DC352B}"/>
          </ac:spMkLst>
        </pc:spChg>
      </pc:sldChg>
      <pc:sldChg chg="add del">
        <pc:chgData name="Verderame, Laura" userId="c9f7ce73-3914-45e9-b146-61d4329fa8a0" providerId="ADAL" clId="{9A71086D-2E7A-4B58-83EC-7FFD3212F7D3}" dt="2025-02-27T21:12:59.208" v="6935" actId="47"/>
        <pc:sldMkLst>
          <pc:docMk/>
          <pc:sldMk cId="218830470" sldId="1300"/>
        </pc:sldMkLst>
      </pc:sldChg>
      <pc:sldChg chg="addSp delSp modSp add mod">
        <pc:chgData name="Verderame, Laura" userId="c9f7ce73-3914-45e9-b146-61d4329fa8a0" providerId="ADAL" clId="{9A71086D-2E7A-4B58-83EC-7FFD3212F7D3}" dt="2025-03-05T17:28:17.297" v="7605" actId="20577"/>
        <pc:sldMkLst>
          <pc:docMk/>
          <pc:sldMk cId="279031372" sldId="1301"/>
        </pc:sldMkLst>
        <pc:spChg chg="mod">
          <ac:chgData name="Verderame, Laura" userId="c9f7ce73-3914-45e9-b146-61d4329fa8a0" providerId="ADAL" clId="{9A71086D-2E7A-4B58-83EC-7FFD3212F7D3}" dt="2025-02-27T21:11:19.723" v="6847" actId="20577"/>
          <ac:spMkLst>
            <pc:docMk/>
            <pc:sldMk cId="279031372" sldId="1301"/>
            <ac:spMk id="2" creationId="{00000000-0000-0000-0000-000000000000}"/>
          </ac:spMkLst>
        </pc:spChg>
        <pc:spChg chg="mod">
          <ac:chgData name="Verderame, Laura" userId="c9f7ce73-3914-45e9-b146-61d4329fa8a0" providerId="ADAL" clId="{9A71086D-2E7A-4B58-83EC-7FFD3212F7D3}" dt="2025-02-27T21:47:40.623" v="7273" actId="1076"/>
          <ac:spMkLst>
            <pc:docMk/>
            <pc:sldMk cId="279031372" sldId="1301"/>
            <ac:spMk id="3" creationId="{00000000-0000-0000-0000-000000000000}"/>
          </ac:spMkLst>
        </pc:spChg>
        <pc:spChg chg="mod">
          <ac:chgData name="Verderame, Laura" userId="c9f7ce73-3914-45e9-b146-61d4329fa8a0" providerId="ADAL" clId="{9A71086D-2E7A-4B58-83EC-7FFD3212F7D3}" dt="2025-02-27T21:27:54.856" v="7178" actId="1076"/>
          <ac:spMkLst>
            <pc:docMk/>
            <pc:sldMk cId="279031372" sldId="1301"/>
            <ac:spMk id="4" creationId="{00000000-0000-0000-0000-000000000000}"/>
          </ac:spMkLst>
        </pc:spChg>
        <pc:spChg chg="mod">
          <ac:chgData name="Verderame, Laura" userId="c9f7ce73-3914-45e9-b146-61d4329fa8a0" providerId="ADAL" clId="{9A71086D-2E7A-4B58-83EC-7FFD3212F7D3}" dt="2025-02-27T21:09:39.196" v="6827"/>
          <ac:spMkLst>
            <pc:docMk/>
            <pc:sldMk cId="279031372" sldId="1301"/>
            <ac:spMk id="5" creationId="{00000000-0000-0000-0000-000000000000}"/>
          </ac:spMkLst>
        </pc:spChg>
        <pc:spChg chg="mod">
          <ac:chgData name="Verderame, Laura" userId="c9f7ce73-3914-45e9-b146-61d4329fa8a0" providerId="ADAL" clId="{9A71086D-2E7A-4B58-83EC-7FFD3212F7D3}" dt="2025-02-27T21:16:50.775" v="6975" actId="404"/>
          <ac:spMkLst>
            <pc:docMk/>
            <pc:sldMk cId="279031372" sldId="1301"/>
            <ac:spMk id="6" creationId="{00000000-0000-0000-0000-000000000000}"/>
          </ac:spMkLst>
        </pc:spChg>
        <pc:spChg chg="add mod">
          <ac:chgData name="Verderame, Laura" userId="c9f7ce73-3914-45e9-b146-61d4329fa8a0" providerId="ADAL" clId="{9A71086D-2E7A-4B58-83EC-7FFD3212F7D3}" dt="2025-02-27T21:31:25.985" v="7215" actId="1076"/>
          <ac:spMkLst>
            <pc:docMk/>
            <pc:sldMk cId="279031372" sldId="1301"/>
            <ac:spMk id="14" creationId="{77B289D0-AAA9-29B9-F169-B7DDDB144ECB}"/>
          </ac:spMkLst>
        </pc:spChg>
        <pc:spChg chg="add mod">
          <ac:chgData name="Verderame, Laura" userId="c9f7ce73-3914-45e9-b146-61d4329fa8a0" providerId="ADAL" clId="{9A71086D-2E7A-4B58-83EC-7FFD3212F7D3}" dt="2025-03-05T17:28:17.297" v="7605" actId="20577"/>
          <ac:spMkLst>
            <pc:docMk/>
            <pc:sldMk cId="279031372" sldId="1301"/>
            <ac:spMk id="15" creationId="{B7F718B1-C5DA-6633-F618-4DBFBEEDB6B2}"/>
          </ac:spMkLst>
        </pc:spChg>
        <pc:spChg chg="add mod">
          <ac:chgData name="Verderame, Laura" userId="c9f7ce73-3914-45e9-b146-61d4329fa8a0" providerId="ADAL" clId="{9A71086D-2E7A-4B58-83EC-7FFD3212F7D3}" dt="2025-02-27T21:31:25.985" v="7215" actId="1076"/>
          <ac:spMkLst>
            <pc:docMk/>
            <pc:sldMk cId="279031372" sldId="1301"/>
            <ac:spMk id="16" creationId="{213EAB51-BF60-87A5-3A2F-3305CCA9E284}"/>
          </ac:spMkLst>
        </pc:spChg>
        <pc:spChg chg="add mod">
          <ac:chgData name="Verderame, Laura" userId="c9f7ce73-3914-45e9-b146-61d4329fa8a0" providerId="ADAL" clId="{9A71086D-2E7A-4B58-83EC-7FFD3212F7D3}" dt="2025-02-27T21:31:25.985" v="7215" actId="1076"/>
          <ac:spMkLst>
            <pc:docMk/>
            <pc:sldMk cId="279031372" sldId="1301"/>
            <ac:spMk id="17" creationId="{2D166C4E-730E-8778-19EA-78E4A1318B69}"/>
          </ac:spMkLst>
        </pc:spChg>
        <pc:spChg chg="add mod">
          <ac:chgData name="Verderame, Laura" userId="c9f7ce73-3914-45e9-b146-61d4329fa8a0" providerId="ADAL" clId="{9A71086D-2E7A-4B58-83EC-7FFD3212F7D3}" dt="2025-02-27T21:31:25.985" v="7215" actId="1076"/>
          <ac:spMkLst>
            <pc:docMk/>
            <pc:sldMk cId="279031372" sldId="1301"/>
            <ac:spMk id="18" creationId="{BC678ACC-9885-F48F-0629-A893234B2FDB}"/>
          </ac:spMkLst>
        </pc:spChg>
        <pc:spChg chg="add mod">
          <ac:chgData name="Verderame, Laura" userId="c9f7ce73-3914-45e9-b146-61d4329fa8a0" providerId="ADAL" clId="{9A71086D-2E7A-4B58-83EC-7FFD3212F7D3}" dt="2025-02-27T21:31:25.985" v="7215" actId="1076"/>
          <ac:spMkLst>
            <pc:docMk/>
            <pc:sldMk cId="279031372" sldId="1301"/>
            <ac:spMk id="20" creationId="{82B5F877-C88F-C691-E429-A67E17C62AF6}"/>
          </ac:spMkLst>
        </pc:spChg>
        <pc:spChg chg="add mod">
          <ac:chgData name="Verderame, Laura" userId="c9f7ce73-3914-45e9-b146-61d4329fa8a0" providerId="ADAL" clId="{9A71086D-2E7A-4B58-83EC-7FFD3212F7D3}" dt="2025-02-27T21:31:25.985" v="7215" actId="1076"/>
          <ac:spMkLst>
            <pc:docMk/>
            <pc:sldMk cId="279031372" sldId="1301"/>
            <ac:spMk id="22" creationId="{00BC835F-C4D4-4195-D897-371ABE0144A1}"/>
          </ac:spMkLst>
        </pc:spChg>
        <pc:picChg chg="add mod modVis">
          <ac:chgData name="Verderame, Laura" userId="c9f7ce73-3914-45e9-b146-61d4329fa8a0" providerId="ADAL" clId="{9A71086D-2E7A-4B58-83EC-7FFD3212F7D3}" dt="2025-02-27T21:09:39.196" v="6827"/>
          <ac:picMkLst>
            <pc:docMk/>
            <pc:sldMk cId="279031372" sldId="1301"/>
            <ac:picMk id="11" creationId="{3A9D4A33-963C-B912-9EBE-7A2D0A681A5A}"/>
          </ac:picMkLst>
        </pc:picChg>
        <pc:picChg chg="add mod modVis">
          <ac:chgData name="Verderame, Laura" userId="c9f7ce73-3914-45e9-b146-61d4329fa8a0" providerId="ADAL" clId="{9A71086D-2E7A-4B58-83EC-7FFD3212F7D3}" dt="2025-02-27T21:09:39.196" v="6827"/>
          <ac:picMkLst>
            <pc:docMk/>
            <pc:sldMk cId="279031372" sldId="1301"/>
            <ac:picMk id="13" creationId="{62028EB0-25C3-36A5-6427-3114748275DF}"/>
          </ac:picMkLst>
        </pc:picChg>
        <pc:picChg chg="add mod">
          <ac:chgData name="Verderame, Laura" userId="c9f7ce73-3914-45e9-b146-61d4329fa8a0" providerId="ADAL" clId="{9A71086D-2E7A-4B58-83EC-7FFD3212F7D3}" dt="2025-02-27T21:47:45.414" v="7275" actId="1076"/>
          <ac:picMkLst>
            <pc:docMk/>
            <pc:sldMk cId="279031372" sldId="1301"/>
            <ac:picMk id="26" creationId="{C87CE5A0-8ACB-E935-6333-F3156C01CC97}"/>
          </ac:picMkLst>
        </pc:picChg>
        <pc:cxnChg chg="add mod">
          <ac:chgData name="Verderame, Laura" userId="c9f7ce73-3914-45e9-b146-61d4329fa8a0" providerId="ADAL" clId="{9A71086D-2E7A-4B58-83EC-7FFD3212F7D3}" dt="2025-03-05T17:28:14.898" v="7600" actId="20577"/>
          <ac:cxnSpMkLst>
            <pc:docMk/>
            <pc:sldMk cId="279031372" sldId="1301"/>
            <ac:cxnSpMk id="19" creationId="{9741D772-2F1E-CC4E-0AD3-B6E28F55D652}"/>
          </ac:cxnSpMkLst>
        </pc:cxnChg>
        <pc:cxnChg chg="add mod">
          <ac:chgData name="Verderame, Laura" userId="c9f7ce73-3914-45e9-b146-61d4329fa8a0" providerId="ADAL" clId="{9A71086D-2E7A-4B58-83EC-7FFD3212F7D3}" dt="2025-02-27T21:31:25.985" v="7215" actId="1076"/>
          <ac:cxnSpMkLst>
            <pc:docMk/>
            <pc:sldMk cId="279031372" sldId="1301"/>
            <ac:cxnSpMk id="21" creationId="{5F28AC5C-EE4B-E357-AA0A-9DAB29ED0B9F}"/>
          </ac:cxnSpMkLst>
        </pc:cxnChg>
        <pc:cxnChg chg="add mod">
          <ac:chgData name="Verderame, Laura" userId="c9f7ce73-3914-45e9-b146-61d4329fa8a0" providerId="ADAL" clId="{9A71086D-2E7A-4B58-83EC-7FFD3212F7D3}" dt="2025-02-27T21:31:25.985" v="7215" actId="1076"/>
          <ac:cxnSpMkLst>
            <pc:docMk/>
            <pc:sldMk cId="279031372" sldId="1301"/>
            <ac:cxnSpMk id="23" creationId="{C17967D7-77E7-4DEB-4AC1-CDD97DE579FA}"/>
          </ac:cxnSpMkLst>
        </pc:cxnChg>
        <pc:cxnChg chg="add mod">
          <ac:chgData name="Verderame, Laura" userId="c9f7ce73-3914-45e9-b146-61d4329fa8a0" providerId="ADAL" clId="{9A71086D-2E7A-4B58-83EC-7FFD3212F7D3}" dt="2025-02-27T21:31:25.985" v="7215" actId="1076"/>
          <ac:cxnSpMkLst>
            <pc:docMk/>
            <pc:sldMk cId="279031372" sldId="1301"/>
            <ac:cxnSpMk id="24" creationId="{A98BC3C0-9E5F-B175-3090-743AE0D2C03C}"/>
          </ac:cxnSpMkLst>
        </pc:cxnChg>
        <pc:cxnChg chg="add mod">
          <ac:chgData name="Verderame, Laura" userId="c9f7ce73-3914-45e9-b146-61d4329fa8a0" providerId="ADAL" clId="{9A71086D-2E7A-4B58-83EC-7FFD3212F7D3}" dt="2025-03-05T17:28:14.898" v="7600" actId="20577"/>
          <ac:cxnSpMkLst>
            <pc:docMk/>
            <pc:sldMk cId="279031372" sldId="1301"/>
            <ac:cxnSpMk id="25" creationId="{3002D91C-B9A9-AFF2-4283-812033AE71BD}"/>
          </ac:cxnSpMkLst>
        </pc:cxnChg>
      </pc:sldChg>
      <pc:sldChg chg="addSp delSp modSp new mod modClrScheme chgLayout">
        <pc:chgData name="Verderame, Laura" userId="c9f7ce73-3914-45e9-b146-61d4329fa8a0" providerId="ADAL" clId="{9A71086D-2E7A-4B58-83EC-7FFD3212F7D3}" dt="2025-03-05T16:52:08.605" v="7331" actId="20577"/>
        <pc:sldMkLst>
          <pc:docMk/>
          <pc:sldMk cId="3021036480" sldId="1302"/>
        </pc:sldMkLst>
      </pc:sldChg>
      <pc:sldChg chg="add del">
        <pc:chgData name="Verderame, Laura" userId="c9f7ce73-3914-45e9-b146-61d4329fa8a0" providerId="ADAL" clId="{9A71086D-2E7A-4B58-83EC-7FFD3212F7D3}" dt="2025-03-05T17:34:21.333" v="7683" actId="47"/>
        <pc:sldMkLst>
          <pc:docMk/>
          <pc:sldMk cId="3752684478" sldId="1303"/>
        </pc:sldMkLst>
      </pc:sldChg>
      <pc:sldMasterChg chg="modSp mod">
        <pc:chgData name="Verderame, Laura" userId="c9f7ce73-3914-45e9-b146-61d4329fa8a0" providerId="ADAL" clId="{9A71086D-2E7A-4B58-83EC-7FFD3212F7D3}" dt="2025-03-05T17:34:16.920" v="7682"/>
        <pc:sldMasterMkLst>
          <pc:docMk/>
          <pc:sldMasterMk cId="577282148" sldId="2147483660"/>
        </pc:sldMasterMkLst>
        <pc:spChg chg="mod modVis">
          <ac:chgData name="Verderame, Laura" userId="c9f7ce73-3914-45e9-b146-61d4329fa8a0" providerId="ADAL" clId="{9A71086D-2E7A-4B58-83EC-7FFD3212F7D3}" dt="2025-03-05T17:34:16.920" v="7682"/>
          <ac:spMkLst>
            <pc:docMk/>
            <pc:sldMasterMk cId="577282148" sldId="2147483660"/>
            <ac:spMk id="2" creationId="{00000000-0000-0000-0000-000000000000}"/>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mcglobal-my.sharepoint.com/personal/laura_verderame_guycarp_com/Documents/Documents/07%20Research%20Projects/2021%20UCSC%20Mangroves/06c%20GCSG%20Sagay%20City/SagayCity_Mangrove_Comparis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mcglobal-my.sharepoint.com/personal/laura_verderame_guycarp_com/Documents/Documents/07%20Research%20Projects/2021%20UCSC%20Mangroves/Philippines_pricing_interpolation.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2"/>
          <c:order val="0"/>
          <c:tx>
            <c:v>Philippines</c:v>
          </c:tx>
          <c:spPr>
            <a:solidFill>
              <a:srgbClr val="00B050"/>
            </a:solidFill>
            <a:ln>
              <a:noFill/>
            </a:ln>
            <a:effectLst/>
          </c:spPr>
          <c:invertIfNegative val="0"/>
          <c:cat>
            <c:numRef>
              <c:f>EP_Loss!$B$2:$B$23</c:f>
              <c:numCache>
                <c:formatCode>#,##0</c:formatCode>
                <c:ptCount val="22"/>
                <c:pt idx="0">
                  <c:v>4.9999999999960325</c:v>
                </c:pt>
                <c:pt idx="1">
                  <c:v>9.9999999999941309</c:v>
                </c:pt>
                <c:pt idx="2">
                  <c:v>15.00015000149431</c:v>
                </c:pt>
                <c:pt idx="3">
                  <c:v>19.999999999996522</c:v>
                </c:pt>
                <c:pt idx="4">
                  <c:v>25.000000000000814</c:v>
                </c:pt>
                <c:pt idx="5">
                  <c:v>50.000000000004476</c:v>
                </c:pt>
                <c:pt idx="6">
                  <c:v>74.996250187484321</c:v>
                </c:pt>
                <c:pt idx="7">
                  <c:v>99.999999999993221</c:v>
                </c:pt>
                <c:pt idx="8">
                  <c:v>124.99999999999355</c:v>
                </c:pt>
                <c:pt idx="9">
                  <c:v>150.01500150014471</c:v>
                </c:pt>
                <c:pt idx="10">
                  <c:v>175.00875043751853</c:v>
                </c:pt>
                <c:pt idx="11">
                  <c:v>199.9999999999994</c:v>
                </c:pt>
                <c:pt idx="12">
                  <c:v>250.00000000000736</c:v>
                </c:pt>
                <c:pt idx="13">
                  <c:v>299.94001199760783</c:v>
                </c:pt>
                <c:pt idx="14">
                  <c:v>349.89503149055793</c:v>
                </c:pt>
                <c:pt idx="15">
                  <c:v>400.00000000000188</c:v>
                </c:pt>
                <c:pt idx="16">
                  <c:v>499.99999999999238</c:v>
                </c:pt>
                <c:pt idx="17">
                  <c:v>999.99999999998875</c:v>
                </c:pt>
                <c:pt idx="18">
                  <c:v>2000.0000000000034</c:v>
                </c:pt>
                <c:pt idx="19">
                  <c:v>2994.0119760479106</c:v>
                </c:pt>
                <c:pt idx="20">
                  <c:v>5000.0000000000091</c:v>
                </c:pt>
                <c:pt idx="21">
                  <c:v>10000.000000000009</c:v>
                </c:pt>
              </c:numCache>
            </c:numRef>
          </c:cat>
          <c:val>
            <c:numRef>
              <c:f>EP_Loss!$Q$2:$Q$23</c:f>
              <c:numCache>
                <c:formatCode>0.0%</c:formatCode>
                <c:ptCount val="22"/>
                <c:pt idx="0">
                  <c:v>1.0332092025317664E-2</c:v>
                </c:pt>
                <c:pt idx="1">
                  <c:v>1.1132422669368472E-2</c:v>
                </c:pt>
                <c:pt idx="2">
                  <c:v>1.2717422015989932E-2</c:v>
                </c:pt>
                <c:pt idx="3">
                  <c:v>1.2755718377112717E-2</c:v>
                </c:pt>
                <c:pt idx="4">
                  <c:v>1.2592943770039335E-2</c:v>
                </c:pt>
                <c:pt idx="5">
                  <c:v>1.3316199610346939E-2</c:v>
                </c:pt>
                <c:pt idx="6">
                  <c:v>1.5572840889933898E-2</c:v>
                </c:pt>
                <c:pt idx="7">
                  <c:v>1.5101645346121727E-2</c:v>
                </c:pt>
                <c:pt idx="8">
                  <c:v>1.3643500139680674E-2</c:v>
                </c:pt>
                <c:pt idx="9">
                  <c:v>1.5639434695859277E-2</c:v>
                </c:pt>
                <c:pt idx="10">
                  <c:v>1.5223039960266626E-2</c:v>
                </c:pt>
                <c:pt idx="11">
                  <c:v>1.4073235619105734E-2</c:v>
                </c:pt>
                <c:pt idx="12">
                  <c:v>1.5678992343576437E-2</c:v>
                </c:pt>
                <c:pt idx="13">
                  <c:v>1.3176064129578636E-2</c:v>
                </c:pt>
                <c:pt idx="14">
                  <c:v>1.4947605230916138E-2</c:v>
                </c:pt>
                <c:pt idx="15">
                  <c:v>1.342845074903498E-2</c:v>
                </c:pt>
                <c:pt idx="16">
                  <c:v>1.4558477605713696E-2</c:v>
                </c:pt>
                <c:pt idx="17">
                  <c:v>1.7531827909993858E-2</c:v>
                </c:pt>
                <c:pt idx="18">
                  <c:v>1.2426507284584694E-2</c:v>
                </c:pt>
                <c:pt idx="19">
                  <c:v>9.2954753076070172E-3</c:v>
                </c:pt>
                <c:pt idx="20">
                  <c:v>2.2837663393688076E-2</c:v>
                </c:pt>
                <c:pt idx="21">
                  <c:v>1.9155170403313115E-2</c:v>
                </c:pt>
              </c:numCache>
            </c:numRef>
          </c:val>
          <c:extLst>
            <c:ext xmlns:c16="http://schemas.microsoft.com/office/drawing/2014/chart" uri="{C3380CC4-5D6E-409C-BE32-E72D297353CC}">
              <c16:uniqueId val="{00000000-1690-4A9D-95D3-0CD813B15762}"/>
            </c:ext>
          </c:extLst>
        </c:ser>
        <c:ser>
          <c:idx val="1"/>
          <c:order val="1"/>
          <c:tx>
            <c:v>Visayas</c:v>
          </c:tx>
          <c:spPr>
            <a:solidFill>
              <a:srgbClr val="002060"/>
            </a:solidFill>
            <a:ln>
              <a:noFill/>
            </a:ln>
            <a:effectLst/>
          </c:spPr>
          <c:invertIfNegative val="0"/>
          <c:cat>
            <c:numRef>
              <c:f>EP_Loss!$B$2:$B$23</c:f>
              <c:numCache>
                <c:formatCode>#,##0</c:formatCode>
                <c:ptCount val="22"/>
                <c:pt idx="0">
                  <c:v>4.9999999999960325</c:v>
                </c:pt>
                <c:pt idx="1">
                  <c:v>9.9999999999941309</c:v>
                </c:pt>
                <c:pt idx="2">
                  <c:v>15.00015000149431</c:v>
                </c:pt>
                <c:pt idx="3">
                  <c:v>19.999999999996522</c:v>
                </c:pt>
                <c:pt idx="4">
                  <c:v>25.000000000000814</c:v>
                </c:pt>
                <c:pt idx="5">
                  <c:v>50.000000000004476</c:v>
                </c:pt>
                <c:pt idx="6">
                  <c:v>74.996250187484321</c:v>
                </c:pt>
                <c:pt idx="7">
                  <c:v>99.999999999993221</c:v>
                </c:pt>
                <c:pt idx="8">
                  <c:v>124.99999999999355</c:v>
                </c:pt>
                <c:pt idx="9">
                  <c:v>150.01500150014471</c:v>
                </c:pt>
                <c:pt idx="10">
                  <c:v>175.00875043751853</c:v>
                </c:pt>
                <c:pt idx="11">
                  <c:v>199.9999999999994</c:v>
                </c:pt>
                <c:pt idx="12">
                  <c:v>250.00000000000736</c:v>
                </c:pt>
                <c:pt idx="13">
                  <c:v>299.94001199760783</c:v>
                </c:pt>
                <c:pt idx="14">
                  <c:v>349.89503149055793</c:v>
                </c:pt>
                <c:pt idx="15">
                  <c:v>400.00000000000188</c:v>
                </c:pt>
                <c:pt idx="16">
                  <c:v>499.99999999999238</c:v>
                </c:pt>
                <c:pt idx="17">
                  <c:v>999.99999999998875</c:v>
                </c:pt>
                <c:pt idx="18">
                  <c:v>2000.0000000000034</c:v>
                </c:pt>
                <c:pt idx="19">
                  <c:v>2994.0119760479106</c:v>
                </c:pt>
                <c:pt idx="20">
                  <c:v>5000.0000000000091</c:v>
                </c:pt>
                <c:pt idx="21">
                  <c:v>10000.000000000009</c:v>
                </c:pt>
              </c:numCache>
            </c:numRef>
          </c:cat>
          <c:val>
            <c:numRef>
              <c:f>EP_Loss!$J$2:$J$23</c:f>
              <c:numCache>
                <c:formatCode>0.0%</c:formatCode>
                <c:ptCount val="22"/>
                <c:pt idx="0">
                  <c:v>1.9974692840737131E-2</c:v>
                </c:pt>
                <c:pt idx="1">
                  <c:v>1.9095314478165145E-2</c:v>
                </c:pt>
                <c:pt idx="2">
                  <c:v>2.0288801749079578E-2</c:v>
                </c:pt>
                <c:pt idx="3">
                  <c:v>2.0140389049670641E-2</c:v>
                </c:pt>
                <c:pt idx="4">
                  <c:v>2.1004420785255426E-2</c:v>
                </c:pt>
                <c:pt idx="5">
                  <c:v>2.0640613998263585E-2</c:v>
                </c:pt>
                <c:pt idx="6">
                  <c:v>1.9001972270258294E-2</c:v>
                </c:pt>
                <c:pt idx="7">
                  <c:v>2.0191314070179118E-2</c:v>
                </c:pt>
                <c:pt idx="8">
                  <c:v>1.6111751100698166E-2</c:v>
                </c:pt>
                <c:pt idx="9">
                  <c:v>1.9043374357867186E-2</c:v>
                </c:pt>
                <c:pt idx="10">
                  <c:v>2.0338118945981167E-2</c:v>
                </c:pt>
                <c:pt idx="11">
                  <c:v>2.1025850529132931E-2</c:v>
                </c:pt>
                <c:pt idx="12">
                  <c:v>1.9892147039623442E-2</c:v>
                </c:pt>
                <c:pt idx="13">
                  <c:v>2.1082304863687368E-2</c:v>
                </c:pt>
                <c:pt idx="14">
                  <c:v>1.9429259701195953E-2</c:v>
                </c:pt>
                <c:pt idx="15">
                  <c:v>2.0522335320341593E-2</c:v>
                </c:pt>
                <c:pt idx="16">
                  <c:v>1.8761062933145931E-2</c:v>
                </c:pt>
                <c:pt idx="17">
                  <c:v>1.7166903535001509E-2</c:v>
                </c:pt>
                <c:pt idx="18">
                  <c:v>1.9106149332996494E-2</c:v>
                </c:pt>
                <c:pt idx="19">
                  <c:v>2.0151567793938306E-2</c:v>
                </c:pt>
                <c:pt idx="20">
                  <c:v>1.720230846000196E-2</c:v>
                </c:pt>
                <c:pt idx="21">
                  <c:v>2.455448019731267E-2</c:v>
                </c:pt>
              </c:numCache>
            </c:numRef>
          </c:val>
          <c:extLst>
            <c:ext xmlns:c16="http://schemas.microsoft.com/office/drawing/2014/chart" uri="{C3380CC4-5D6E-409C-BE32-E72D297353CC}">
              <c16:uniqueId val="{00000001-1690-4A9D-95D3-0CD813B15762}"/>
            </c:ext>
          </c:extLst>
        </c:ser>
        <c:ser>
          <c:idx val="0"/>
          <c:order val="2"/>
          <c:tx>
            <c:v>Sagay City</c:v>
          </c:tx>
          <c:spPr>
            <a:solidFill>
              <a:srgbClr val="00B0F0"/>
            </a:solidFill>
            <a:ln>
              <a:noFill/>
            </a:ln>
            <a:effectLst/>
          </c:spPr>
          <c:invertIfNegative val="0"/>
          <c:cat>
            <c:numRef>
              <c:f>EP_Loss!$B$2:$B$23</c:f>
              <c:numCache>
                <c:formatCode>#,##0</c:formatCode>
                <c:ptCount val="22"/>
                <c:pt idx="0">
                  <c:v>4.9999999999960325</c:v>
                </c:pt>
                <c:pt idx="1">
                  <c:v>9.9999999999941309</c:v>
                </c:pt>
                <c:pt idx="2">
                  <c:v>15.00015000149431</c:v>
                </c:pt>
                <c:pt idx="3">
                  <c:v>19.999999999996522</c:v>
                </c:pt>
                <c:pt idx="4">
                  <c:v>25.000000000000814</c:v>
                </c:pt>
                <c:pt idx="5">
                  <c:v>50.000000000004476</c:v>
                </c:pt>
                <c:pt idx="6">
                  <c:v>74.996250187484321</c:v>
                </c:pt>
                <c:pt idx="7">
                  <c:v>99.999999999993221</c:v>
                </c:pt>
                <c:pt idx="8">
                  <c:v>124.99999999999355</c:v>
                </c:pt>
                <c:pt idx="9">
                  <c:v>150.01500150014471</c:v>
                </c:pt>
                <c:pt idx="10">
                  <c:v>175.00875043751853</c:v>
                </c:pt>
                <c:pt idx="11">
                  <c:v>199.9999999999994</c:v>
                </c:pt>
                <c:pt idx="12">
                  <c:v>250.00000000000736</c:v>
                </c:pt>
                <c:pt idx="13">
                  <c:v>299.94001199760783</c:v>
                </c:pt>
                <c:pt idx="14">
                  <c:v>349.89503149055793</c:v>
                </c:pt>
                <c:pt idx="15">
                  <c:v>400.00000000000188</c:v>
                </c:pt>
                <c:pt idx="16">
                  <c:v>499.99999999999238</c:v>
                </c:pt>
                <c:pt idx="17">
                  <c:v>999.99999999998875</c:v>
                </c:pt>
                <c:pt idx="18">
                  <c:v>2000.0000000000034</c:v>
                </c:pt>
                <c:pt idx="19">
                  <c:v>2994.0119760479106</c:v>
                </c:pt>
                <c:pt idx="20">
                  <c:v>5000.0000000000091</c:v>
                </c:pt>
                <c:pt idx="21">
                  <c:v>10000.000000000009</c:v>
                </c:pt>
              </c:numCache>
            </c:numRef>
          </c:cat>
          <c:val>
            <c:numRef>
              <c:f>EP_Loss!$E$2:$E$23</c:f>
              <c:numCache>
                <c:formatCode>0.0%</c:formatCode>
                <c:ptCount val="22"/>
                <c:pt idx="0">
                  <c:v>3.0973819546340896E-2</c:v>
                </c:pt>
                <c:pt idx="1">
                  <c:v>3.9684334139318204E-2</c:v>
                </c:pt>
                <c:pt idx="2">
                  <c:v>4.7508556652101117E-2</c:v>
                </c:pt>
                <c:pt idx="3">
                  <c:v>5.0622420384772743E-2</c:v>
                </c:pt>
                <c:pt idx="4">
                  <c:v>5.3626650347682339E-2</c:v>
                </c:pt>
                <c:pt idx="5">
                  <c:v>5.6503079930821987E-2</c:v>
                </c:pt>
                <c:pt idx="6">
                  <c:v>6.7411032771382995E-2</c:v>
                </c:pt>
                <c:pt idx="7">
                  <c:v>7.1141219913260889E-2</c:v>
                </c:pt>
                <c:pt idx="8">
                  <c:v>7.168986330758613E-2</c:v>
                </c:pt>
                <c:pt idx="9">
                  <c:v>7.7862017032511291E-2</c:v>
                </c:pt>
                <c:pt idx="10">
                  <c:v>7.5496418347833563E-2</c:v>
                </c:pt>
                <c:pt idx="11">
                  <c:v>7.8907258163202279E-2</c:v>
                </c:pt>
                <c:pt idx="12">
                  <c:v>8.1257022261452969E-2</c:v>
                </c:pt>
                <c:pt idx="13">
                  <c:v>7.9282469034723621E-2</c:v>
                </c:pt>
                <c:pt idx="14">
                  <c:v>7.3091930893120785E-2</c:v>
                </c:pt>
                <c:pt idx="15">
                  <c:v>7.3204150270777812E-2</c:v>
                </c:pt>
                <c:pt idx="16">
                  <c:v>7.4106440008532504E-2</c:v>
                </c:pt>
                <c:pt idx="17">
                  <c:v>8.2899410642122334E-2</c:v>
                </c:pt>
                <c:pt idx="18">
                  <c:v>7.6073396365617496E-2</c:v>
                </c:pt>
                <c:pt idx="19">
                  <c:v>7.6905935730731803E-2</c:v>
                </c:pt>
                <c:pt idx="20">
                  <c:v>0.10378170016340064</c:v>
                </c:pt>
                <c:pt idx="21">
                  <c:v>6.9755052960056699E-2</c:v>
                </c:pt>
              </c:numCache>
            </c:numRef>
          </c:val>
          <c:extLst>
            <c:ext xmlns:c16="http://schemas.microsoft.com/office/drawing/2014/chart" uri="{C3380CC4-5D6E-409C-BE32-E72D297353CC}">
              <c16:uniqueId val="{00000002-1690-4A9D-95D3-0CD813B15762}"/>
            </c:ext>
          </c:extLst>
        </c:ser>
        <c:dLbls>
          <c:showLegendKey val="0"/>
          <c:showVal val="0"/>
          <c:showCatName val="0"/>
          <c:showSerName val="0"/>
          <c:showPercent val="0"/>
          <c:showBubbleSize val="0"/>
        </c:dLbls>
        <c:gapWidth val="219"/>
        <c:axId val="1121141935"/>
        <c:axId val="1220670719"/>
      </c:barChart>
      <c:catAx>
        <c:axId val="1121141935"/>
        <c:scaling>
          <c:orientation val="minMax"/>
        </c:scaling>
        <c:delete val="0"/>
        <c:axPos val="b"/>
        <c:title>
          <c:tx>
            <c:rich>
              <a:bodyPr rot="0" spcFirstLastPara="1" vertOverflow="ellipsis" vert="horz" wrap="square" anchor="ctr" anchorCtr="1"/>
              <a:lstStyle/>
              <a:p>
                <a:pPr>
                  <a:defRPr sz="1200" b="0" i="0" u="none" strike="noStrike" kern="1200" baseline="0">
                    <a:solidFill>
                      <a:sysClr val="windowText" lastClr="000000"/>
                    </a:solidFill>
                    <a:latin typeface="+mj-lt"/>
                    <a:ea typeface="+mn-ea"/>
                    <a:cs typeface="Arial" panose="020B0604020202020204" pitchFamily="34" charset="0"/>
                  </a:defRPr>
                </a:pPr>
                <a:r>
                  <a:rPr lang="en-US"/>
                  <a:t>Return Period (years)</a:t>
                </a:r>
              </a:p>
            </c:rich>
          </c:tx>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j-lt"/>
                  <a:ea typeface="+mn-ea"/>
                  <a:cs typeface="Arial" panose="020B0604020202020204" pitchFamily="34" charset="0"/>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Arial" panose="020B0604020202020204" pitchFamily="34" charset="0"/>
              </a:defRPr>
            </a:pPr>
            <a:endParaRPr lang="en-US"/>
          </a:p>
        </c:txPr>
        <c:crossAx val="1220670719"/>
        <c:crosses val="autoZero"/>
        <c:auto val="1"/>
        <c:lblAlgn val="ctr"/>
        <c:lblOffset val="100"/>
        <c:noMultiLvlLbl val="0"/>
      </c:catAx>
      <c:valAx>
        <c:axId val="122067071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low"/>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Arial" panose="020B0604020202020204" pitchFamily="34" charset="0"/>
              </a:defRPr>
            </a:pPr>
            <a:endParaRPr lang="en-US"/>
          </a:p>
        </c:txPr>
        <c:crossAx val="11211419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j-lt"/>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mj-lt"/>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0460239909770315"/>
          <c:y val="4.1563793325816986E-2"/>
          <c:w val="0.87699063972425129"/>
          <c:h val="0.76120456138069104"/>
        </c:manualLayout>
      </c:layout>
      <c:barChart>
        <c:barDir val="col"/>
        <c:grouping val="clustered"/>
        <c:varyColors val="0"/>
        <c:ser>
          <c:idx val="0"/>
          <c:order val="0"/>
          <c:tx>
            <c:strRef>
              <c:f>'[Philippines_pricing_interpolation.xlsx]Summary(expand)'!$D$1</c:f>
              <c:strCache>
                <c:ptCount val="1"/>
                <c:pt idx="0">
                  <c:v>Philippines</c:v>
                </c:pt>
              </c:strCache>
            </c:strRef>
          </c:tx>
          <c:spPr>
            <a:solidFill>
              <a:srgbClr val="00B050"/>
            </a:solidFill>
            <a:ln>
              <a:noFill/>
            </a:ln>
            <a:effectLst/>
          </c:spPr>
          <c:invertIfNegative val="0"/>
          <c:cat>
            <c:strRef>
              <c:f>'[Philippines_pricing_interpolation.xlsx]Summary(expand)'!$A$2:$A$15</c:f>
              <c:strCache>
                <c:ptCount val="11"/>
                <c:pt idx="0">
                  <c:v>Layer 1</c:v>
                </c:pt>
                <c:pt idx="1">
                  <c:v>Layer 2</c:v>
                </c:pt>
                <c:pt idx="2">
                  <c:v>Layer 3</c:v>
                </c:pt>
                <c:pt idx="3">
                  <c:v>Layer 4</c:v>
                </c:pt>
                <c:pt idx="4">
                  <c:v>Layer 5</c:v>
                </c:pt>
                <c:pt idx="5">
                  <c:v>Layer 6</c:v>
                </c:pt>
                <c:pt idx="6">
                  <c:v>Layer 7</c:v>
                </c:pt>
                <c:pt idx="7">
                  <c:v>Layer 8</c:v>
                </c:pt>
                <c:pt idx="8">
                  <c:v>Layer 9</c:v>
                </c:pt>
                <c:pt idx="9">
                  <c:v>Layer 10</c:v>
                </c:pt>
                <c:pt idx="10">
                  <c:v>Layer 11</c:v>
                </c:pt>
              </c:strCache>
              <c:extLst/>
            </c:strRef>
          </c:cat>
          <c:val>
            <c:numRef>
              <c:f>'[Philippines_pricing_interpolation.xlsx]Summary(expand)'!$D$2:$D$15</c:f>
              <c:numCache>
                <c:formatCode>0.00%</c:formatCode>
                <c:ptCount val="11"/>
                <c:pt idx="0">
                  <c:v>1.977924633917625E-2</c:v>
                </c:pt>
                <c:pt idx="1">
                  <c:v>1.7224165785161737E-2</c:v>
                </c:pt>
                <c:pt idx="2">
                  <c:v>1.806552485916425E-2</c:v>
                </c:pt>
                <c:pt idx="3">
                  <c:v>3.9809136704793677E-2</c:v>
                </c:pt>
                <c:pt idx="4">
                  <c:v>1.7374175306488004E-2</c:v>
                </c:pt>
                <c:pt idx="5">
                  <c:v>3.4652521556744136E-2</c:v>
                </c:pt>
                <c:pt idx="6">
                  <c:v>2.7329884789902163E-2</c:v>
                </c:pt>
                <c:pt idx="7">
                  <c:v>2.1204661973585615E-2</c:v>
                </c:pt>
                <c:pt idx="8">
                  <c:v>2.5303981410302025E-2</c:v>
                </c:pt>
                <c:pt idx="9">
                  <c:v>1.5633286813589751E-2</c:v>
                </c:pt>
                <c:pt idx="10">
                  <c:v>2.1213693771877339E-2</c:v>
                </c:pt>
              </c:numCache>
              <c:extLst/>
            </c:numRef>
          </c:val>
          <c:extLst>
            <c:ext xmlns:c16="http://schemas.microsoft.com/office/drawing/2014/chart" uri="{C3380CC4-5D6E-409C-BE32-E72D297353CC}">
              <c16:uniqueId val="{00000000-656C-4487-9757-47F0FDF463AE}"/>
            </c:ext>
          </c:extLst>
        </c:ser>
        <c:ser>
          <c:idx val="1"/>
          <c:order val="1"/>
          <c:tx>
            <c:strRef>
              <c:f>'[Philippines_pricing_interpolation.xlsx]Summary(expand)'!$E$1</c:f>
              <c:strCache>
                <c:ptCount val="1"/>
                <c:pt idx="0">
                  <c:v>Visayas</c:v>
                </c:pt>
              </c:strCache>
            </c:strRef>
          </c:tx>
          <c:spPr>
            <a:solidFill>
              <a:srgbClr val="002060"/>
            </a:solidFill>
            <a:ln>
              <a:noFill/>
            </a:ln>
            <a:effectLst/>
          </c:spPr>
          <c:invertIfNegative val="0"/>
          <c:cat>
            <c:strRef>
              <c:f>'[Philippines_pricing_interpolation.xlsx]Summary(expand)'!$A$2:$A$15</c:f>
              <c:strCache>
                <c:ptCount val="11"/>
                <c:pt idx="0">
                  <c:v>Layer 1</c:v>
                </c:pt>
                <c:pt idx="1">
                  <c:v>Layer 2</c:v>
                </c:pt>
                <c:pt idx="2">
                  <c:v>Layer 3</c:v>
                </c:pt>
                <c:pt idx="3">
                  <c:v>Layer 4</c:v>
                </c:pt>
                <c:pt idx="4">
                  <c:v>Layer 5</c:v>
                </c:pt>
                <c:pt idx="5">
                  <c:v>Layer 6</c:v>
                </c:pt>
                <c:pt idx="6">
                  <c:v>Layer 7</c:v>
                </c:pt>
                <c:pt idx="7">
                  <c:v>Layer 8</c:v>
                </c:pt>
                <c:pt idx="8">
                  <c:v>Layer 9</c:v>
                </c:pt>
                <c:pt idx="9">
                  <c:v>Layer 10</c:v>
                </c:pt>
                <c:pt idx="10">
                  <c:v>Layer 11</c:v>
                </c:pt>
              </c:strCache>
              <c:extLst/>
            </c:strRef>
          </c:cat>
          <c:val>
            <c:numRef>
              <c:f>'[Philippines_pricing_interpolation.xlsx]Summary(expand)'!$E$2:$E$15</c:f>
              <c:numCache>
                <c:formatCode>0.00%</c:formatCode>
                <c:ptCount val="11"/>
                <c:pt idx="0">
                  <c:v>2.0326960778116613E-3</c:v>
                </c:pt>
                <c:pt idx="1">
                  <c:v>6.614001146726986E-3</c:v>
                </c:pt>
                <c:pt idx="2">
                  <c:v>1.4974201569359384E-2</c:v>
                </c:pt>
                <c:pt idx="3">
                  <c:v>3.0027420931077818E-2</c:v>
                </c:pt>
                <c:pt idx="4">
                  <c:v>1.2748592529303389E-2</c:v>
                </c:pt>
                <c:pt idx="5">
                  <c:v>2.2526707268596392E-2</c:v>
                </c:pt>
                <c:pt idx="6">
                  <c:v>2.9348253810557334E-2</c:v>
                </c:pt>
                <c:pt idx="7">
                  <c:v>3.0821706028340855E-2</c:v>
                </c:pt>
                <c:pt idx="8">
                  <c:v>3.8453595620358605E-2</c:v>
                </c:pt>
                <c:pt idx="9">
                  <c:v>3.5142446388171544E-2</c:v>
                </c:pt>
                <c:pt idx="10">
                  <c:v>4.1181728513561583E-2</c:v>
                </c:pt>
              </c:numCache>
              <c:extLst/>
            </c:numRef>
          </c:val>
          <c:extLst>
            <c:ext xmlns:c16="http://schemas.microsoft.com/office/drawing/2014/chart" uri="{C3380CC4-5D6E-409C-BE32-E72D297353CC}">
              <c16:uniqueId val="{00000001-656C-4487-9757-47F0FDF463AE}"/>
            </c:ext>
          </c:extLst>
        </c:ser>
        <c:ser>
          <c:idx val="2"/>
          <c:order val="2"/>
          <c:tx>
            <c:strRef>
              <c:f>'[Philippines_pricing_interpolation.xlsx]Summary(expand)'!$F$1</c:f>
              <c:strCache>
                <c:ptCount val="1"/>
                <c:pt idx="0">
                  <c:v>Sagay City</c:v>
                </c:pt>
              </c:strCache>
            </c:strRef>
          </c:tx>
          <c:spPr>
            <a:solidFill>
              <a:srgbClr val="00B0F0"/>
            </a:solidFill>
            <a:ln>
              <a:noFill/>
            </a:ln>
            <a:effectLst/>
          </c:spPr>
          <c:invertIfNegative val="0"/>
          <c:cat>
            <c:strRef>
              <c:f>'[Philippines_pricing_interpolation.xlsx]Summary(expand)'!$A$2:$A$15</c:f>
              <c:strCache>
                <c:ptCount val="11"/>
                <c:pt idx="0">
                  <c:v>Layer 1</c:v>
                </c:pt>
                <c:pt idx="1">
                  <c:v>Layer 2</c:v>
                </c:pt>
                <c:pt idx="2">
                  <c:v>Layer 3</c:v>
                </c:pt>
                <c:pt idx="3">
                  <c:v>Layer 4</c:v>
                </c:pt>
                <c:pt idx="4">
                  <c:v>Layer 5</c:v>
                </c:pt>
                <c:pt idx="5">
                  <c:v>Layer 6</c:v>
                </c:pt>
                <c:pt idx="6">
                  <c:v>Layer 7</c:v>
                </c:pt>
                <c:pt idx="7">
                  <c:v>Layer 8</c:v>
                </c:pt>
                <c:pt idx="8">
                  <c:v>Layer 9</c:v>
                </c:pt>
                <c:pt idx="9">
                  <c:v>Layer 10</c:v>
                </c:pt>
                <c:pt idx="10">
                  <c:v>Layer 11</c:v>
                </c:pt>
              </c:strCache>
              <c:extLst/>
            </c:strRef>
          </c:cat>
          <c:val>
            <c:numRef>
              <c:f>'[Philippines_pricing_interpolation.xlsx]Summary(expand)'!$F$2:$F$15</c:f>
              <c:numCache>
                <c:formatCode>0.00%</c:formatCode>
                <c:ptCount val="11"/>
                <c:pt idx="0">
                  <c:v>7.4357793063764763E-2</c:v>
                </c:pt>
                <c:pt idx="1">
                  <c:v>6.9246722948741471E-2</c:v>
                </c:pt>
                <c:pt idx="2">
                  <c:v>0.10805775511358327</c:v>
                </c:pt>
                <c:pt idx="3">
                  <c:v>0.12196960887207919</c:v>
                </c:pt>
                <c:pt idx="4">
                  <c:v>9.5925832071827685E-2</c:v>
                </c:pt>
                <c:pt idx="5">
                  <c:v>0.13395948820184767</c:v>
                </c:pt>
                <c:pt idx="6">
                  <c:v>0.1145248421013704</c:v>
                </c:pt>
                <c:pt idx="7">
                  <c:v>0.12098953795309135</c:v>
                </c:pt>
                <c:pt idx="8">
                  <c:v>0.12458558735468342</c:v>
                </c:pt>
                <c:pt idx="9">
                  <c:v>0.10694038720928398</c:v>
                </c:pt>
                <c:pt idx="10">
                  <c:v>0.10473776487494435</c:v>
                </c:pt>
              </c:numCache>
              <c:extLst/>
            </c:numRef>
          </c:val>
          <c:extLst>
            <c:ext xmlns:c16="http://schemas.microsoft.com/office/drawing/2014/chart" uri="{C3380CC4-5D6E-409C-BE32-E72D297353CC}">
              <c16:uniqueId val="{00000002-656C-4487-9757-47F0FDF463AE}"/>
            </c:ext>
          </c:extLst>
        </c:ser>
        <c:dLbls>
          <c:showLegendKey val="0"/>
          <c:showVal val="0"/>
          <c:showCatName val="0"/>
          <c:showSerName val="0"/>
          <c:showPercent val="0"/>
          <c:showBubbleSize val="0"/>
        </c:dLbls>
        <c:gapWidth val="219"/>
        <c:axId val="1684048080"/>
        <c:axId val="1684052400"/>
      </c:barChart>
      <c:catAx>
        <c:axId val="1684048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84052400"/>
        <c:crosses val="autoZero"/>
        <c:auto val="1"/>
        <c:lblAlgn val="ctr"/>
        <c:lblOffset val="100"/>
        <c:noMultiLvlLbl val="0"/>
      </c:catAx>
      <c:valAx>
        <c:axId val="1684052400"/>
        <c:scaling>
          <c:orientation val="minMax"/>
          <c:max val="0.16000000000000003"/>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Average Price Reduction (%)</a:t>
                </a:r>
              </a:p>
            </c:rich>
          </c:tx>
          <c:overlay val="0"/>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low"/>
        <c:spPr>
          <a:noFill/>
          <a:ln>
            <a:noFill/>
          </a:ln>
          <a:effectLst/>
        </c:spPr>
        <c:txPr>
          <a:bodyPr rot="-1200000" spcFirstLastPara="1" vertOverflow="ellipsis"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84048080"/>
        <c:crosses val="autoZero"/>
        <c:crossBetween val="between"/>
        <c:majorUnit val="2.0000000000000004E-2"/>
      </c:valAx>
      <c:spPr>
        <a:noFill/>
        <a:ln>
          <a:noFill/>
        </a:ln>
        <a:effectLst/>
      </c:spPr>
    </c:plotArea>
    <c:legend>
      <c:legendPos val="b"/>
      <c:layout>
        <c:manualLayout>
          <c:xMode val="edge"/>
          <c:yMode val="edge"/>
          <c:x val="0.33455831198810992"/>
          <c:y val="0.93091660793817188"/>
          <c:w val="0.3576571377373009"/>
          <c:h val="5.1931895503719419E-2"/>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image" Target="../media/image11.jpg"/><Relationship Id="rId4" Type="http://schemas.openxmlformats.org/officeDocument/2006/relationships/image" Target="../media/image14.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image" Target="../media/image14.jpeg"/><Relationship Id="rId4" Type="http://schemas.openxmlformats.org/officeDocument/2006/relationships/image" Target="../media/image13.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5B8327-D2BC-4346-94D7-B08A22FE32E9}"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US"/>
        </a:p>
      </dgm:t>
    </dgm:pt>
    <dgm:pt modelId="{B9C753A6-0A98-4E22-BD53-40B90076C5D7}">
      <dgm:prSet phldrT="[Text]"/>
      <dgm:spPr/>
      <dgm:t>
        <a:bodyPr/>
        <a:lstStyle/>
        <a:p>
          <a:r>
            <a:rPr lang="en-US" b="1" dirty="0"/>
            <a:t>Mangroves</a:t>
          </a:r>
        </a:p>
      </dgm:t>
    </dgm:pt>
    <dgm:pt modelId="{AA9773B3-7452-4CB7-A6CC-9FEF8225E2EF}" type="parTrans" cxnId="{8E36F697-472C-4757-A199-327D576B9E1E}">
      <dgm:prSet/>
      <dgm:spPr/>
      <dgm:t>
        <a:bodyPr/>
        <a:lstStyle/>
        <a:p>
          <a:endParaRPr lang="en-US"/>
        </a:p>
      </dgm:t>
    </dgm:pt>
    <dgm:pt modelId="{531223B5-093D-4771-B9B6-4F73BD9EA53F}" type="sibTrans" cxnId="{8E36F697-472C-4757-A199-327D576B9E1E}">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16000" r="-16000"/>
          </a:stretch>
        </a:blipFill>
      </dgm:spPr>
      <dgm:t>
        <a:bodyPr/>
        <a:lstStyle/>
        <a:p>
          <a:endParaRPr lang="en-US"/>
        </a:p>
      </dgm:t>
      <dgm:extLst>
        <a:ext uri="{E40237B7-FDA0-4F09-8148-C483321AD2D9}">
          <dgm14:cNvPr xmlns:dgm14="http://schemas.microsoft.com/office/drawing/2010/diagram" id="0" name="" descr="Aerial view of a lush green forest"/>
        </a:ext>
      </dgm:extLst>
    </dgm:pt>
    <dgm:pt modelId="{69A59ADB-1A79-41F3-926E-8054CD357231}">
      <dgm:prSet phldrT="[Text]"/>
      <dgm:spPr/>
      <dgm:t>
        <a:bodyPr/>
        <a:lstStyle/>
        <a:p>
          <a:r>
            <a:rPr lang="en-US" b="1" dirty="0"/>
            <a:t>Wetlands</a:t>
          </a:r>
        </a:p>
      </dgm:t>
    </dgm:pt>
    <dgm:pt modelId="{4811B31E-2BCC-417C-9D49-57FDD80EB026}" type="parTrans" cxnId="{DFBBA000-75C2-4979-959E-5D4F421C2DFC}">
      <dgm:prSet/>
      <dgm:spPr/>
      <dgm:t>
        <a:bodyPr/>
        <a:lstStyle/>
        <a:p>
          <a:endParaRPr lang="en-US"/>
        </a:p>
      </dgm:t>
    </dgm:pt>
    <dgm:pt modelId="{E7050F1A-4832-406B-89D5-4EDB7C76B7E8}" type="sibTrans" cxnId="{DFBBA000-75C2-4979-959E-5D4F421C2DFC}">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4000" r="-14000"/>
          </a:stretch>
        </a:blipFill>
      </dgm:spPr>
      <dgm:t>
        <a:bodyPr/>
        <a:lstStyle/>
        <a:p>
          <a:endParaRPr lang="en-US"/>
        </a:p>
      </dgm:t>
      <dgm:extLst>
        <a:ext uri="{E40237B7-FDA0-4F09-8148-C483321AD2D9}">
          <dgm14:cNvPr xmlns:dgm14="http://schemas.microsoft.com/office/drawing/2010/diagram" id="0" name="" descr="Elevated view of marsh and tidelands at dusk"/>
        </a:ext>
      </dgm:extLst>
    </dgm:pt>
    <dgm:pt modelId="{2F7ACF38-895C-49EC-8E58-FA16BF96F947}">
      <dgm:prSet/>
      <dgm:spPr/>
      <dgm:t>
        <a:bodyPr/>
        <a:lstStyle/>
        <a:p>
          <a:r>
            <a:rPr lang="en-US" b="1" dirty="0"/>
            <a:t>Coral Reefs</a:t>
          </a:r>
        </a:p>
      </dgm:t>
    </dgm:pt>
    <dgm:pt modelId="{8C625E94-8817-4074-B16E-B1A05AF99950}" type="parTrans" cxnId="{65D40A42-FD41-4EAB-9E23-9615C9EC4717}">
      <dgm:prSet/>
      <dgm:spPr/>
      <dgm:t>
        <a:bodyPr/>
        <a:lstStyle/>
        <a:p>
          <a:endParaRPr lang="en-US"/>
        </a:p>
      </dgm:t>
    </dgm:pt>
    <dgm:pt modelId="{BEC51A54-5485-43C0-8431-3258988A984A}" type="sibTrans" cxnId="{65D40A42-FD41-4EAB-9E23-9615C9EC4717}">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6000" r="-26000"/>
          </a:stretch>
        </a:blipFill>
      </dgm:spPr>
      <dgm:t>
        <a:bodyPr/>
        <a:lstStyle/>
        <a:p>
          <a:endParaRPr lang="en-US"/>
        </a:p>
      </dgm:t>
      <dgm:extLst>
        <a:ext uri="{E40237B7-FDA0-4F09-8148-C483321AD2D9}">
          <dgm14:cNvPr xmlns:dgm14="http://schemas.microsoft.com/office/drawing/2010/diagram" id="0" name="" descr="Aerial view of beach and trees"/>
        </a:ext>
      </dgm:extLst>
    </dgm:pt>
    <dgm:pt modelId="{E07E0D2F-467C-4CF1-B1F9-96E489C52F8A}">
      <dgm:prSet phldrT="[Text]"/>
      <dgm:spPr/>
      <dgm:t>
        <a:bodyPr/>
        <a:lstStyle/>
        <a:p>
          <a:r>
            <a:rPr lang="en-US" b="1" dirty="0"/>
            <a:t>Beach and Dunes</a:t>
          </a:r>
        </a:p>
      </dgm:t>
    </dgm:pt>
    <dgm:pt modelId="{6D7C648C-697C-46CE-8A6A-7C7AC702FDCE}" type="sibTrans" cxnId="{D9E25D7C-64DA-44E0-81DC-60C4566272FF}">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l="-14000" r="-14000"/>
          </a:stretch>
        </a:blipFill>
      </dgm:spPr>
      <dgm:t>
        <a:bodyPr/>
        <a:lstStyle/>
        <a:p>
          <a:endParaRPr lang="en-US"/>
        </a:p>
      </dgm:t>
    </dgm:pt>
    <dgm:pt modelId="{B8BF3FD1-D806-4930-B5F9-7D79C4052B69}" type="parTrans" cxnId="{D9E25D7C-64DA-44E0-81DC-60C4566272FF}">
      <dgm:prSet/>
      <dgm:spPr/>
      <dgm:t>
        <a:bodyPr/>
        <a:lstStyle/>
        <a:p>
          <a:endParaRPr lang="en-US"/>
        </a:p>
      </dgm:t>
    </dgm:pt>
    <dgm:pt modelId="{DEB94706-803E-43CC-B55C-B93CF8F9ACC7}" type="pres">
      <dgm:prSet presAssocID="{625B8327-D2BC-4346-94D7-B08A22FE32E9}" presName="Name0" presStyleCnt="0">
        <dgm:presLayoutVars>
          <dgm:chMax val="21"/>
          <dgm:chPref val="21"/>
        </dgm:presLayoutVars>
      </dgm:prSet>
      <dgm:spPr/>
    </dgm:pt>
    <dgm:pt modelId="{8E6A7FFE-B631-44D7-B753-2FE269D0E43A}" type="pres">
      <dgm:prSet presAssocID="{E07E0D2F-467C-4CF1-B1F9-96E489C52F8A}" presName="text1" presStyleCnt="0"/>
      <dgm:spPr/>
    </dgm:pt>
    <dgm:pt modelId="{0315B002-4367-40A0-A3D0-397A9A7C40B0}" type="pres">
      <dgm:prSet presAssocID="{E07E0D2F-467C-4CF1-B1F9-96E489C52F8A}" presName="textRepeatNode" presStyleLbl="alignNode1" presStyleIdx="0" presStyleCnt="4">
        <dgm:presLayoutVars>
          <dgm:chMax val="0"/>
          <dgm:chPref val="0"/>
          <dgm:bulletEnabled val="1"/>
        </dgm:presLayoutVars>
      </dgm:prSet>
      <dgm:spPr/>
    </dgm:pt>
    <dgm:pt modelId="{E99BB865-E494-48B2-88D6-0EB44E0D4660}" type="pres">
      <dgm:prSet presAssocID="{E07E0D2F-467C-4CF1-B1F9-96E489C52F8A}" presName="textaccent1" presStyleCnt="0"/>
      <dgm:spPr/>
    </dgm:pt>
    <dgm:pt modelId="{91C7C9EF-FB48-4763-AB91-55D447B725A0}" type="pres">
      <dgm:prSet presAssocID="{E07E0D2F-467C-4CF1-B1F9-96E489C52F8A}" presName="accentRepeatNode" presStyleLbl="solidAlignAcc1" presStyleIdx="0" presStyleCnt="8"/>
      <dgm:spPr/>
    </dgm:pt>
    <dgm:pt modelId="{4B5039F5-7BB1-43C8-BBE3-BA537F241164}" type="pres">
      <dgm:prSet presAssocID="{6D7C648C-697C-46CE-8A6A-7C7AC702FDCE}" presName="image1" presStyleCnt="0"/>
      <dgm:spPr/>
    </dgm:pt>
    <dgm:pt modelId="{3E566302-4C8C-4539-856F-10664304A0B7}" type="pres">
      <dgm:prSet presAssocID="{6D7C648C-697C-46CE-8A6A-7C7AC702FDCE}" presName="imageRepeatNode" presStyleLbl="alignAcc1" presStyleIdx="0" presStyleCnt="4"/>
      <dgm:spPr/>
    </dgm:pt>
    <dgm:pt modelId="{BD2731C0-667D-4BC0-80AB-A9D4AB7435B8}" type="pres">
      <dgm:prSet presAssocID="{6D7C648C-697C-46CE-8A6A-7C7AC702FDCE}" presName="imageaccent1" presStyleCnt="0"/>
      <dgm:spPr/>
    </dgm:pt>
    <dgm:pt modelId="{464991BA-B0DA-4989-8358-4E24C507AE64}" type="pres">
      <dgm:prSet presAssocID="{6D7C648C-697C-46CE-8A6A-7C7AC702FDCE}" presName="accentRepeatNode" presStyleLbl="solidAlignAcc1" presStyleIdx="1" presStyleCnt="8"/>
      <dgm:spPr/>
    </dgm:pt>
    <dgm:pt modelId="{F1BD0A4C-D039-4770-8ADF-EE5DC8ED03A9}" type="pres">
      <dgm:prSet presAssocID="{B9C753A6-0A98-4E22-BD53-40B90076C5D7}" presName="text2" presStyleCnt="0"/>
      <dgm:spPr/>
    </dgm:pt>
    <dgm:pt modelId="{4F213B86-5663-47C9-8634-110118345160}" type="pres">
      <dgm:prSet presAssocID="{B9C753A6-0A98-4E22-BD53-40B90076C5D7}" presName="textRepeatNode" presStyleLbl="alignNode1" presStyleIdx="1" presStyleCnt="4">
        <dgm:presLayoutVars>
          <dgm:chMax val="0"/>
          <dgm:chPref val="0"/>
          <dgm:bulletEnabled val="1"/>
        </dgm:presLayoutVars>
      </dgm:prSet>
      <dgm:spPr/>
    </dgm:pt>
    <dgm:pt modelId="{A5546C4C-5B6B-4D0E-8AB3-74FC705CEE82}" type="pres">
      <dgm:prSet presAssocID="{B9C753A6-0A98-4E22-BD53-40B90076C5D7}" presName="textaccent2" presStyleCnt="0"/>
      <dgm:spPr/>
    </dgm:pt>
    <dgm:pt modelId="{1B95F9FF-1D0C-44DB-910F-FA4495A875A1}" type="pres">
      <dgm:prSet presAssocID="{B9C753A6-0A98-4E22-BD53-40B90076C5D7}" presName="accentRepeatNode" presStyleLbl="solidAlignAcc1" presStyleIdx="2" presStyleCnt="8"/>
      <dgm:spPr/>
    </dgm:pt>
    <dgm:pt modelId="{75B97263-4093-4681-83B1-FE7467F3EBEA}" type="pres">
      <dgm:prSet presAssocID="{531223B5-093D-4771-B9B6-4F73BD9EA53F}" presName="image2" presStyleCnt="0"/>
      <dgm:spPr/>
    </dgm:pt>
    <dgm:pt modelId="{FD9ECB43-E7FF-42B6-89FE-DEF568C437E4}" type="pres">
      <dgm:prSet presAssocID="{531223B5-093D-4771-B9B6-4F73BD9EA53F}" presName="imageRepeatNode" presStyleLbl="alignAcc1" presStyleIdx="1" presStyleCnt="4"/>
      <dgm:spPr/>
    </dgm:pt>
    <dgm:pt modelId="{567F3016-C3CF-4310-BB3D-3D37233087E2}" type="pres">
      <dgm:prSet presAssocID="{531223B5-093D-4771-B9B6-4F73BD9EA53F}" presName="imageaccent2" presStyleCnt="0"/>
      <dgm:spPr/>
    </dgm:pt>
    <dgm:pt modelId="{61396435-C06C-49D9-9C9F-0CC67965F0C9}" type="pres">
      <dgm:prSet presAssocID="{531223B5-093D-4771-B9B6-4F73BD9EA53F}" presName="accentRepeatNode" presStyleLbl="solidAlignAcc1" presStyleIdx="3" presStyleCnt="8"/>
      <dgm:spPr/>
    </dgm:pt>
    <dgm:pt modelId="{0FE3C5F8-A6DC-4ABC-9B36-7EC47762EE91}" type="pres">
      <dgm:prSet presAssocID="{69A59ADB-1A79-41F3-926E-8054CD357231}" presName="text3" presStyleCnt="0"/>
      <dgm:spPr/>
    </dgm:pt>
    <dgm:pt modelId="{5EB2A5BC-7C05-4B07-AD95-84E487BFD69F}" type="pres">
      <dgm:prSet presAssocID="{69A59ADB-1A79-41F3-926E-8054CD357231}" presName="textRepeatNode" presStyleLbl="alignNode1" presStyleIdx="2" presStyleCnt="4">
        <dgm:presLayoutVars>
          <dgm:chMax val="0"/>
          <dgm:chPref val="0"/>
          <dgm:bulletEnabled val="1"/>
        </dgm:presLayoutVars>
      </dgm:prSet>
      <dgm:spPr/>
    </dgm:pt>
    <dgm:pt modelId="{0A9A2130-D46F-4447-9D99-E212BE7591D0}" type="pres">
      <dgm:prSet presAssocID="{69A59ADB-1A79-41F3-926E-8054CD357231}" presName="textaccent3" presStyleCnt="0"/>
      <dgm:spPr/>
    </dgm:pt>
    <dgm:pt modelId="{1B31DD1B-B580-4385-B1E4-9789EE43181D}" type="pres">
      <dgm:prSet presAssocID="{69A59ADB-1A79-41F3-926E-8054CD357231}" presName="accentRepeatNode" presStyleLbl="solidAlignAcc1" presStyleIdx="4" presStyleCnt="8"/>
      <dgm:spPr/>
    </dgm:pt>
    <dgm:pt modelId="{44F78C89-929F-4DD4-AF0E-95426C5C984E}" type="pres">
      <dgm:prSet presAssocID="{E7050F1A-4832-406B-89D5-4EDB7C76B7E8}" presName="image3" presStyleCnt="0"/>
      <dgm:spPr/>
    </dgm:pt>
    <dgm:pt modelId="{7BA8F8C5-17C5-4BDD-A94F-8F5B6ED11F50}" type="pres">
      <dgm:prSet presAssocID="{E7050F1A-4832-406B-89D5-4EDB7C76B7E8}" presName="imageRepeatNode" presStyleLbl="alignAcc1" presStyleIdx="2" presStyleCnt="4"/>
      <dgm:spPr/>
    </dgm:pt>
    <dgm:pt modelId="{AFD74560-BA6A-4DF0-B5CA-9C2575C7A207}" type="pres">
      <dgm:prSet presAssocID="{E7050F1A-4832-406B-89D5-4EDB7C76B7E8}" presName="imageaccent3" presStyleCnt="0"/>
      <dgm:spPr/>
    </dgm:pt>
    <dgm:pt modelId="{45F6553F-BD6F-4A19-A27A-C38E4CACD0F9}" type="pres">
      <dgm:prSet presAssocID="{E7050F1A-4832-406B-89D5-4EDB7C76B7E8}" presName="accentRepeatNode" presStyleLbl="solidAlignAcc1" presStyleIdx="5" presStyleCnt="8"/>
      <dgm:spPr/>
    </dgm:pt>
    <dgm:pt modelId="{851D452D-BCB3-4560-A626-F4E7528D77EB}" type="pres">
      <dgm:prSet presAssocID="{2F7ACF38-895C-49EC-8E58-FA16BF96F947}" presName="text4" presStyleCnt="0"/>
      <dgm:spPr/>
    </dgm:pt>
    <dgm:pt modelId="{A38AD879-49B3-40F1-B504-D4603D507981}" type="pres">
      <dgm:prSet presAssocID="{2F7ACF38-895C-49EC-8E58-FA16BF96F947}" presName="textRepeatNode" presStyleLbl="alignNode1" presStyleIdx="3" presStyleCnt="4">
        <dgm:presLayoutVars>
          <dgm:chMax val="0"/>
          <dgm:chPref val="0"/>
          <dgm:bulletEnabled val="1"/>
        </dgm:presLayoutVars>
      </dgm:prSet>
      <dgm:spPr/>
    </dgm:pt>
    <dgm:pt modelId="{2BD4C06D-A5CD-4808-B5E9-FA91AF568395}" type="pres">
      <dgm:prSet presAssocID="{2F7ACF38-895C-49EC-8E58-FA16BF96F947}" presName="textaccent4" presStyleCnt="0"/>
      <dgm:spPr/>
    </dgm:pt>
    <dgm:pt modelId="{11F21C42-B346-423B-92DE-9920F687F91D}" type="pres">
      <dgm:prSet presAssocID="{2F7ACF38-895C-49EC-8E58-FA16BF96F947}" presName="accentRepeatNode" presStyleLbl="solidAlignAcc1" presStyleIdx="6" presStyleCnt="8"/>
      <dgm:spPr/>
    </dgm:pt>
    <dgm:pt modelId="{89B63A97-D430-4436-A060-8B05F2C11AD5}" type="pres">
      <dgm:prSet presAssocID="{BEC51A54-5485-43C0-8431-3258988A984A}" presName="image4" presStyleCnt="0"/>
      <dgm:spPr/>
    </dgm:pt>
    <dgm:pt modelId="{F7AB8B5B-2026-4078-AA60-A3232E57BFA2}" type="pres">
      <dgm:prSet presAssocID="{BEC51A54-5485-43C0-8431-3258988A984A}" presName="imageRepeatNode" presStyleLbl="alignAcc1" presStyleIdx="3" presStyleCnt="4"/>
      <dgm:spPr/>
    </dgm:pt>
    <dgm:pt modelId="{89AC6A8C-40C7-4758-A0FC-261B81AE2230}" type="pres">
      <dgm:prSet presAssocID="{BEC51A54-5485-43C0-8431-3258988A984A}" presName="imageaccent4" presStyleCnt="0"/>
      <dgm:spPr/>
    </dgm:pt>
    <dgm:pt modelId="{3429C91B-13CE-46EA-A2BC-C31453F46530}" type="pres">
      <dgm:prSet presAssocID="{BEC51A54-5485-43C0-8431-3258988A984A}" presName="accentRepeatNode" presStyleLbl="solidAlignAcc1" presStyleIdx="7" presStyleCnt="8"/>
      <dgm:spPr/>
    </dgm:pt>
  </dgm:ptLst>
  <dgm:cxnLst>
    <dgm:cxn modelId="{DFBBA000-75C2-4979-959E-5D4F421C2DFC}" srcId="{625B8327-D2BC-4346-94D7-B08A22FE32E9}" destId="{69A59ADB-1A79-41F3-926E-8054CD357231}" srcOrd="2" destOrd="0" parTransId="{4811B31E-2BCC-417C-9D49-57FDD80EB026}" sibTransId="{E7050F1A-4832-406B-89D5-4EDB7C76B7E8}"/>
    <dgm:cxn modelId="{667D4508-A326-461C-80F7-9D368ADE1E2E}" type="presOf" srcId="{E7050F1A-4832-406B-89D5-4EDB7C76B7E8}" destId="{7BA8F8C5-17C5-4BDD-A94F-8F5B6ED11F50}" srcOrd="0" destOrd="0" presId="urn:microsoft.com/office/officeart/2008/layout/HexagonCluster"/>
    <dgm:cxn modelId="{65D40A42-FD41-4EAB-9E23-9615C9EC4717}" srcId="{625B8327-D2BC-4346-94D7-B08A22FE32E9}" destId="{2F7ACF38-895C-49EC-8E58-FA16BF96F947}" srcOrd="3" destOrd="0" parTransId="{8C625E94-8817-4074-B16E-B1A05AF99950}" sibTransId="{BEC51A54-5485-43C0-8431-3258988A984A}"/>
    <dgm:cxn modelId="{D9E25D7C-64DA-44E0-81DC-60C4566272FF}" srcId="{625B8327-D2BC-4346-94D7-B08A22FE32E9}" destId="{E07E0D2F-467C-4CF1-B1F9-96E489C52F8A}" srcOrd="0" destOrd="0" parTransId="{B8BF3FD1-D806-4930-B5F9-7D79C4052B69}" sibTransId="{6D7C648C-697C-46CE-8A6A-7C7AC702FDCE}"/>
    <dgm:cxn modelId="{8E36F697-472C-4757-A199-327D576B9E1E}" srcId="{625B8327-D2BC-4346-94D7-B08A22FE32E9}" destId="{B9C753A6-0A98-4E22-BD53-40B90076C5D7}" srcOrd="1" destOrd="0" parTransId="{AA9773B3-7452-4CB7-A6CC-9FEF8225E2EF}" sibTransId="{531223B5-093D-4771-B9B6-4F73BD9EA53F}"/>
    <dgm:cxn modelId="{D83C5899-145C-4215-B44E-D6CF84E94479}" type="presOf" srcId="{BEC51A54-5485-43C0-8431-3258988A984A}" destId="{F7AB8B5B-2026-4078-AA60-A3232E57BFA2}" srcOrd="0" destOrd="0" presId="urn:microsoft.com/office/officeart/2008/layout/HexagonCluster"/>
    <dgm:cxn modelId="{8E0D519C-BF1E-4F6C-9EFD-D4CBB9BA7739}" type="presOf" srcId="{E07E0D2F-467C-4CF1-B1F9-96E489C52F8A}" destId="{0315B002-4367-40A0-A3D0-397A9A7C40B0}" srcOrd="0" destOrd="0" presId="urn:microsoft.com/office/officeart/2008/layout/HexagonCluster"/>
    <dgm:cxn modelId="{32C158A0-FC7E-4B65-A7BF-0153D819AA5F}" type="presOf" srcId="{6D7C648C-697C-46CE-8A6A-7C7AC702FDCE}" destId="{3E566302-4C8C-4539-856F-10664304A0B7}" srcOrd="0" destOrd="0" presId="urn:microsoft.com/office/officeart/2008/layout/HexagonCluster"/>
    <dgm:cxn modelId="{86D932AB-1A6A-4E33-A31B-D7BC1626F95D}" type="presOf" srcId="{625B8327-D2BC-4346-94D7-B08A22FE32E9}" destId="{DEB94706-803E-43CC-B55C-B93CF8F9ACC7}" srcOrd="0" destOrd="0" presId="urn:microsoft.com/office/officeart/2008/layout/HexagonCluster"/>
    <dgm:cxn modelId="{3BF276B6-9923-43BF-AE28-EF0F80048E47}" type="presOf" srcId="{69A59ADB-1A79-41F3-926E-8054CD357231}" destId="{5EB2A5BC-7C05-4B07-AD95-84E487BFD69F}" srcOrd="0" destOrd="0" presId="urn:microsoft.com/office/officeart/2008/layout/HexagonCluster"/>
    <dgm:cxn modelId="{631C2DBF-C533-4F9F-8694-DF3E9F01FAFC}" type="presOf" srcId="{531223B5-093D-4771-B9B6-4F73BD9EA53F}" destId="{FD9ECB43-E7FF-42B6-89FE-DEF568C437E4}" srcOrd="0" destOrd="0" presId="urn:microsoft.com/office/officeart/2008/layout/HexagonCluster"/>
    <dgm:cxn modelId="{21C9E6DB-5094-4552-A1C5-2B660ADA52D6}" type="presOf" srcId="{2F7ACF38-895C-49EC-8E58-FA16BF96F947}" destId="{A38AD879-49B3-40F1-B504-D4603D507981}" srcOrd="0" destOrd="0" presId="urn:microsoft.com/office/officeart/2008/layout/HexagonCluster"/>
    <dgm:cxn modelId="{C3805EF8-4126-420D-9744-49532C1B8C91}" type="presOf" srcId="{B9C753A6-0A98-4E22-BD53-40B90076C5D7}" destId="{4F213B86-5663-47C9-8634-110118345160}" srcOrd="0" destOrd="0" presId="urn:microsoft.com/office/officeart/2008/layout/HexagonCluster"/>
    <dgm:cxn modelId="{80FACC0E-6D55-4FCF-BE9A-9056C4152124}" type="presParOf" srcId="{DEB94706-803E-43CC-B55C-B93CF8F9ACC7}" destId="{8E6A7FFE-B631-44D7-B753-2FE269D0E43A}" srcOrd="0" destOrd="0" presId="urn:microsoft.com/office/officeart/2008/layout/HexagonCluster"/>
    <dgm:cxn modelId="{0C8DBEA8-FA25-46B9-B0CE-E7700C824735}" type="presParOf" srcId="{8E6A7FFE-B631-44D7-B753-2FE269D0E43A}" destId="{0315B002-4367-40A0-A3D0-397A9A7C40B0}" srcOrd="0" destOrd="0" presId="urn:microsoft.com/office/officeart/2008/layout/HexagonCluster"/>
    <dgm:cxn modelId="{BBDAD1F1-9D47-46DA-A907-22CF3781F715}" type="presParOf" srcId="{DEB94706-803E-43CC-B55C-B93CF8F9ACC7}" destId="{E99BB865-E494-48B2-88D6-0EB44E0D4660}" srcOrd="1" destOrd="0" presId="urn:microsoft.com/office/officeart/2008/layout/HexagonCluster"/>
    <dgm:cxn modelId="{B97981C8-E175-4616-9117-F7E407D6B271}" type="presParOf" srcId="{E99BB865-E494-48B2-88D6-0EB44E0D4660}" destId="{91C7C9EF-FB48-4763-AB91-55D447B725A0}" srcOrd="0" destOrd="0" presId="urn:microsoft.com/office/officeart/2008/layout/HexagonCluster"/>
    <dgm:cxn modelId="{49781D13-0FD6-49F6-A497-B385708DAFA2}" type="presParOf" srcId="{DEB94706-803E-43CC-B55C-B93CF8F9ACC7}" destId="{4B5039F5-7BB1-43C8-BBE3-BA537F241164}" srcOrd="2" destOrd="0" presId="urn:microsoft.com/office/officeart/2008/layout/HexagonCluster"/>
    <dgm:cxn modelId="{51C67D32-219E-4190-BD0C-20C1A46017FA}" type="presParOf" srcId="{4B5039F5-7BB1-43C8-BBE3-BA537F241164}" destId="{3E566302-4C8C-4539-856F-10664304A0B7}" srcOrd="0" destOrd="0" presId="urn:microsoft.com/office/officeart/2008/layout/HexagonCluster"/>
    <dgm:cxn modelId="{9EDA95C7-2FD2-45BE-903E-E865661993B1}" type="presParOf" srcId="{DEB94706-803E-43CC-B55C-B93CF8F9ACC7}" destId="{BD2731C0-667D-4BC0-80AB-A9D4AB7435B8}" srcOrd="3" destOrd="0" presId="urn:microsoft.com/office/officeart/2008/layout/HexagonCluster"/>
    <dgm:cxn modelId="{65A494B2-DDD2-4F35-B7A4-E0BAA65E0AEF}" type="presParOf" srcId="{BD2731C0-667D-4BC0-80AB-A9D4AB7435B8}" destId="{464991BA-B0DA-4989-8358-4E24C507AE64}" srcOrd="0" destOrd="0" presId="urn:microsoft.com/office/officeart/2008/layout/HexagonCluster"/>
    <dgm:cxn modelId="{7F35A336-8B10-429E-BF8E-4B3E3E4A9B8A}" type="presParOf" srcId="{DEB94706-803E-43CC-B55C-B93CF8F9ACC7}" destId="{F1BD0A4C-D039-4770-8ADF-EE5DC8ED03A9}" srcOrd="4" destOrd="0" presId="urn:microsoft.com/office/officeart/2008/layout/HexagonCluster"/>
    <dgm:cxn modelId="{B7C11E7D-69EA-4428-B5BA-AA15E0C3B0E0}" type="presParOf" srcId="{F1BD0A4C-D039-4770-8ADF-EE5DC8ED03A9}" destId="{4F213B86-5663-47C9-8634-110118345160}" srcOrd="0" destOrd="0" presId="urn:microsoft.com/office/officeart/2008/layout/HexagonCluster"/>
    <dgm:cxn modelId="{52BF59F1-8E36-495E-A42E-AF266D9732CE}" type="presParOf" srcId="{DEB94706-803E-43CC-B55C-B93CF8F9ACC7}" destId="{A5546C4C-5B6B-4D0E-8AB3-74FC705CEE82}" srcOrd="5" destOrd="0" presId="urn:microsoft.com/office/officeart/2008/layout/HexagonCluster"/>
    <dgm:cxn modelId="{5B2E0047-0266-46A8-BD29-9544E449B41E}" type="presParOf" srcId="{A5546C4C-5B6B-4D0E-8AB3-74FC705CEE82}" destId="{1B95F9FF-1D0C-44DB-910F-FA4495A875A1}" srcOrd="0" destOrd="0" presId="urn:microsoft.com/office/officeart/2008/layout/HexagonCluster"/>
    <dgm:cxn modelId="{BDAD25BD-C9CD-47FB-A79B-C1E1E59C9C42}" type="presParOf" srcId="{DEB94706-803E-43CC-B55C-B93CF8F9ACC7}" destId="{75B97263-4093-4681-83B1-FE7467F3EBEA}" srcOrd="6" destOrd="0" presId="urn:microsoft.com/office/officeart/2008/layout/HexagonCluster"/>
    <dgm:cxn modelId="{9DABA095-18F2-4DB9-9093-9E722D348539}" type="presParOf" srcId="{75B97263-4093-4681-83B1-FE7467F3EBEA}" destId="{FD9ECB43-E7FF-42B6-89FE-DEF568C437E4}" srcOrd="0" destOrd="0" presId="urn:microsoft.com/office/officeart/2008/layout/HexagonCluster"/>
    <dgm:cxn modelId="{EB46AC12-AE06-4276-BEFC-BD97A1FAAF7C}" type="presParOf" srcId="{DEB94706-803E-43CC-B55C-B93CF8F9ACC7}" destId="{567F3016-C3CF-4310-BB3D-3D37233087E2}" srcOrd="7" destOrd="0" presId="urn:microsoft.com/office/officeart/2008/layout/HexagonCluster"/>
    <dgm:cxn modelId="{8780A18D-3D13-4E1C-83A5-3BA54208F1F5}" type="presParOf" srcId="{567F3016-C3CF-4310-BB3D-3D37233087E2}" destId="{61396435-C06C-49D9-9C9F-0CC67965F0C9}" srcOrd="0" destOrd="0" presId="urn:microsoft.com/office/officeart/2008/layout/HexagonCluster"/>
    <dgm:cxn modelId="{19216839-94B8-4AEC-AF4C-FDEBAA133EC2}" type="presParOf" srcId="{DEB94706-803E-43CC-B55C-B93CF8F9ACC7}" destId="{0FE3C5F8-A6DC-4ABC-9B36-7EC47762EE91}" srcOrd="8" destOrd="0" presId="urn:microsoft.com/office/officeart/2008/layout/HexagonCluster"/>
    <dgm:cxn modelId="{C1FB74CE-828A-4EA8-9158-924BC2AE4641}" type="presParOf" srcId="{0FE3C5F8-A6DC-4ABC-9B36-7EC47762EE91}" destId="{5EB2A5BC-7C05-4B07-AD95-84E487BFD69F}" srcOrd="0" destOrd="0" presId="urn:microsoft.com/office/officeart/2008/layout/HexagonCluster"/>
    <dgm:cxn modelId="{102B777A-A378-4BE0-BF60-D280314E63D3}" type="presParOf" srcId="{DEB94706-803E-43CC-B55C-B93CF8F9ACC7}" destId="{0A9A2130-D46F-4447-9D99-E212BE7591D0}" srcOrd="9" destOrd="0" presId="urn:microsoft.com/office/officeart/2008/layout/HexagonCluster"/>
    <dgm:cxn modelId="{46E8F360-E6A4-4E3B-BD1F-CE00F3C4348A}" type="presParOf" srcId="{0A9A2130-D46F-4447-9D99-E212BE7591D0}" destId="{1B31DD1B-B580-4385-B1E4-9789EE43181D}" srcOrd="0" destOrd="0" presId="urn:microsoft.com/office/officeart/2008/layout/HexagonCluster"/>
    <dgm:cxn modelId="{2FE69BD9-9D16-4068-8CE9-854AC8E3654B}" type="presParOf" srcId="{DEB94706-803E-43CC-B55C-B93CF8F9ACC7}" destId="{44F78C89-929F-4DD4-AF0E-95426C5C984E}" srcOrd="10" destOrd="0" presId="urn:microsoft.com/office/officeart/2008/layout/HexagonCluster"/>
    <dgm:cxn modelId="{CE30DE0B-DD5C-43D5-97FF-664414E6B46E}" type="presParOf" srcId="{44F78C89-929F-4DD4-AF0E-95426C5C984E}" destId="{7BA8F8C5-17C5-4BDD-A94F-8F5B6ED11F50}" srcOrd="0" destOrd="0" presId="urn:microsoft.com/office/officeart/2008/layout/HexagonCluster"/>
    <dgm:cxn modelId="{7D2E7BBB-BC17-485E-81CB-878E2F25EE49}" type="presParOf" srcId="{DEB94706-803E-43CC-B55C-B93CF8F9ACC7}" destId="{AFD74560-BA6A-4DF0-B5CA-9C2575C7A207}" srcOrd="11" destOrd="0" presId="urn:microsoft.com/office/officeart/2008/layout/HexagonCluster"/>
    <dgm:cxn modelId="{E434EDAB-79E8-423A-9BE4-F65E0A272EFD}" type="presParOf" srcId="{AFD74560-BA6A-4DF0-B5CA-9C2575C7A207}" destId="{45F6553F-BD6F-4A19-A27A-C38E4CACD0F9}" srcOrd="0" destOrd="0" presId="urn:microsoft.com/office/officeart/2008/layout/HexagonCluster"/>
    <dgm:cxn modelId="{DC34780E-A930-4206-93E6-DA7F91123752}" type="presParOf" srcId="{DEB94706-803E-43CC-B55C-B93CF8F9ACC7}" destId="{851D452D-BCB3-4560-A626-F4E7528D77EB}" srcOrd="12" destOrd="0" presId="urn:microsoft.com/office/officeart/2008/layout/HexagonCluster"/>
    <dgm:cxn modelId="{A906B02A-DBCD-4D3B-B64B-84E37B1213BE}" type="presParOf" srcId="{851D452D-BCB3-4560-A626-F4E7528D77EB}" destId="{A38AD879-49B3-40F1-B504-D4603D507981}" srcOrd="0" destOrd="0" presId="urn:microsoft.com/office/officeart/2008/layout/HexagonCluster"/>
    <dgm:cxn modelId="{FCDD7855-8AB5-4974-A03A-BB381DA1410E}" type="presParOf" srcId="{DEB94706-803E-43CC-B55C-B93CF8F9ACC7}" destId="{2BD4C06D-A5CD-4808-B5E9-FA91AF568395}" srcOrd="13" destOrd="0" presId="urn:microsoft.com/office/officeart/2008/layout/HexagonCluster"/>
    <dgm:cxn modelId="{3AB365C8-849C-49F3-B8A8-1DCB61C9C4A3}" type="presParOf" srcId="{2BD4C06D-A5CD-4808-B5E9-FA91AF568395}" destId="{11F21C42-B346-423B-92DE-9920F687F91D}" srcOrd="0" destOrd="0" presId="urn:microsoft.com/office/officeart/2008/layout/HexagonCluster"/>
    <dgm:cxn modelId="{F2A11B72-DD99-48D1-B120-8E022CACEB96}" type="presParOf" srcId="{DEB94706-803E-43CC-B55C-B93CF8F9ACC7}" destId="{89B63A97-D430-4436-A060-8B05F2C11AD5}" srcOrd="14" destOrd="0" presId="urn:microsoft.com/office/officeart/2008/layout/HexagonCluster"/>
    <dgm:cxn modelId="{AD3F230C-328D-401D-B81A-3FD83A41B94D}" type="presParOf" srcId="{89B63A97-D430-4436-A060-8B05F2C11AD5}" destId="{F7AB8B5B-2026-4078-AA60-A3232E57BFA2}" srcOrd="0" destOrd="0" presId="urn:microsoft.com/office/officeart/2008/layout/HexagonCluster"/>
    <dgm:cxn modelId="{E1497119-F584-4C28-A181-5B711F2F0269}" type="presParOf" srcId="{DEB94706-803E-43CC-B55C-B93CF8F9ACC7}" destId="{89AC6A8C-40C7-4758-A0FC-261B81AE2230}" srcOrd="15" destOrd="0" presId="urn:microsoft.com/office/officeart/2008/layout/HexagonCluster"/>
    <dgm:cxn modelId="{7B9A4D73-0F15-4E3C-8DEF-8A8E3BD2A5EA}" type="presParOf" srcId="{89AC6A8C-40C7-4758-A0FC-261B81AE2230}" destId="{3429C91B-13CE-46EA-A2BC-C31453F46530}"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15B002-4367-40A0-A3D0-397A9A7C40B0}">
      <dsp:nvSpPr>
        <dsp:cNvPr id="0" name=""/>
        <dsp:cNvSpPr/>
      </dsp:nvSpPr>
      <dsp:spPr>
        <a:xfrm>
          <a:off x="1383191" y="2724755"/>
          <a:ext cx="1629395" cy="1398648"/>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Beach and Dunes</a:t>
          </a:r>
        </a:p>
      </dsp:txBody>
      <dsp:txXfrm>
        <a:off x="1635528" y="2941357"/>
        <a:ext cx="1124721" cy="965444"/>
      </dsp:txXfrm>
    </dsp:sp>
    <dsp:sp modelId="{91C7C9EF-FB48-4763-AB91-55D447B725A0}">
      <dsp:nvSpPr>
        <dsp:cNvPr id="0" name=""/>
        <dsp:cNvSpPr/>
      </dsp:nvSpPr>
      <dsp:spPr>
        <a:xfrm>
          <a:off x="1434155" y="3342805"/>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E566302-4C8C-4539-856F-10664304A0B7}">
      <dsp:nvSpPr>
        <dsp:cNvPr id="0" name=""/>
        <dsp:cNvSpPr/>
      </dsp:nvSpPr>
      <dsp:spPr>
        <a:xfrm>
          <a:off x="0" y="1964476"/>
          <a:ext cx="1629395" cy="1398648"/>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4991BA-B0DA-4989-8358-4E24C507AE64}">
      <dsp:nvSpPr>
        <dsp:cNvPr id="0" name=""/>
        <dsp:cNvSpPr/>
      </dsp:nvSpPr>
      <dsp:spPr>
        <a:xfrm>
          <a:off x="1103251" y="3169175"/>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213B86-5663-47C9-8634-110118345160}">
      <dsp:nvSpPr>
        <dsp:cNvPr id="0" name=""/>
        <dsp:cNvSpPr/>
      </dsp:nvSpPr>
      <dsp:spPr>
        <a:xfrm>
          <a:off x="2764947" y="1953762"/>
          <a:ext cx="1629395" cy="1398648"/>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Mangroves</a:t>
          </a:r>
        </a:p>
      </dsp:txBody>
      <dsp:txXfrm>
        <a:off x="3017284" y="2170364"/>
        <a:ext cx="1124721" cy="965444"/>
      </dsp:txXfrm>
    </dsp:sp>
    <dsp:sp modelId="{1B95F9FF-1D0C-44DB-910F-FA4495A875A1}">
      <dsp:nvSpPr>
        <dsp:cNvPr id="0" name=""/>
        <dsp:cNvSpPr/>
      </dsp:nvSpPr>
      <dsp:spPr>
        <a:xfrm>
          <a:off x="3881119" y="3156984"/>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D9ECB43-E7FF-42B6-89FE-DEF568C437E4}">
      <dsp:nvSpPr>
        <dsp:cNvPr id="0" name=""/>
        <dsp:cNvSpPr/>
      </dsp:nvSpPr>
      <dsp:spPr>
        <a:xfrm>
          <a:off x="4153881" y="2722539"/>
          <a:ext cx="1629395" cy="1398648"/>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6000" r="-16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396435-C06C-49D9-9C9F-0CC67965F0C9}">
      <dsp:nvSpPr>
        <dsp:cNvPr id="0" name=""/>
        <dsp:cNvSpPr/>
      </dsp:nvSpPr>
      <dsp:spPr>
        <a:xfrm>
          <a:off x="4191207" y="3349086"/>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B2A5BC-7C05-4B07-AD95-84E487BFD69F}">
      <dsp:nvSpPr>
        <dsp:cNvPr id="0" name=""/>
        <dsp:cNvSpPr/>
      </dsp:nvSpPr>
      <dsp:spPr>
        <a:xfrm>
          <a:off x="1383191" y="1200133"/>
          <a:ext cx="1629395" cy="1398648"/>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Wetlands</a:t>
          </a:r>
        </a:p>
      </dsp:txBody>
      <dsp:txXfrm>
        <a:off x="1635528" y="1416735"/>
        <a:ext cx="1124721" cy="965444"/>
      </dsp:txXfrm>
    </dsp:sp>
    <dsp:sp modelId="{1B31DD1B-B580-4385-B1E4-9789EE43181D}">
      <dsp:nvSpPr>
        <dsp:cNvPr id="0" name=""/>
        <dsp:cNvSpPr/>
      </dsp:nvSpPr>
      <dsp:spPr>
        <a:xfrm>
          <a:off x="2492185" y="1228948"/>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BA8F8C5-17C5-4BDD-A94F-8F5B6ED11F50}">
      <dsp:nvSpPr>
        <dsp:cNvPr id="0" name=""/>
        <dsp:cNvSpPr/>
      </dsp:nvSpPr>
      <dsp:spPr>
        <a:xfrm>
          <a:off x="2764947" y="429140"/>
          <a:ext cx="1629395" cy="1398648"/>
        </a:xfrm>
        <a:prstGeom prst="hexagon">
          <a:avLst>
            <a:gd name="adj" fmla="val 25000"/>
            <a:gd name="vf" fmla="val 11547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4000" r="-14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5F6553F-BD6F-4A19-A27A-C38E4CACD0F9}">
      <dsp:nvSpPr>
        <dsp:cNvPr id="0" name=""/>
        <dsp:cNvSpPr/>
      </dsp:nvSpPr>
      <dsp:spPr>
        <a:xfrm>
          <a:off x="2802273" y="1049037"/>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8AD879-49B3-40F1-B504-D4603D507981}">
      <dsp:nvSpPr>
        <dsp:cNvPr id="0" name=""/>
        <dsp:cNvSpPr/>
      </dsp:nvSpPr>
      <dsp:spPr>
        <a:xfrm>
          <a:off x="4153881" y="1197916"/>
          <a:ext cx="1629395" cy="1398648"/>
        </a:xfrm>
        <a:prstGeom prst="hexagon">
          <a:avLst>
            <a:gd name="adj" fmla="val 25000"/>
            <a:gd name="vf" fmla="val 11547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Coral Reefs</a:t>
          </a:r>
        </a:p>
      </dsp:txBody>
      <dsp:txXfrm>
        <a:off x="4406218" y="1414518"/>
        <a:ext cx="1124721" cy="965444"/>
      </dsp:txXfrm>
    </dsp:sp>
    <dsp:sp modelId="{11F21C42-B346-423B-92DE-9920F687F91D}">
      <dsp:nvSpPr>
        <dsp:cNvPr id="0" name=""/>
        <dsp:cNvSpPr/>
      </dsp:nvSpPr>
      <dsp:spPr>
        <a:xfrm>
          <a:off x="5555018" y="1815227"/>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7AB8B5B-2026-4078-AA60-A3232E57BFA2}">
      <dsp:nvSpPr>
        <dsp:cNvPr id="0" name=""/>
        <dsp:cNvSpPr/>
      </dsp:nvSpPr>
      <dsp:spPr>
        <a:xfrm>
          <a:off x="5548558" y="1966692"/>
          <a:ext cx="1629395" cy="1398648"/>
        </a:xfrm>
        <a:prstGeom prst="hexagon">
          <a:avLst>
            <a:gd name="adj" fmla="val 25000"/>
            <a:gd name="vf" fmla="val 11547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6000" r="-26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29C91B-13CE-46EA-A2BC-C31453F46530}">
      <dsp:nvSpPr>
        <dsp:cNvPr id="0" name=""/>
        <dsp:cNvSpPr/>
      </dsp:nvSpPr>
      <dsp:spPr>
        <a:xfrm>
          <a:off x="5877308" y="1991444"/>
          <a:ext cx="190215" cy="164025"/>
        </a:xfrm>
        <a:prstGeom prst="hexagon">
          <a:avLst>
            <a:gd name="adj" fmla="val 25000"/>
            <a:gd name="vf" fmla="val 115470"/>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17/03/2025</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17/03/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latin typeface="Aptos" panose="020B0004020202020204" pitchFamily="34" charset="0"/>
                <a:ea typeface="Aptos" panose="020B0004020202020204" pitchFamily="34" charset="0"/>
                <a:cs typeface="Times New Roman" panose="02020603050405020304" pitchFamily="18" charset="0"/>
              </a:rPr>
              <a:t>Some comment on increasing coastal risks – climate change, urban development</a:t>
            </a:r>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2</a:t>
            </a:fld>
            <a:endParaRPr lang="en-GB" dirty="0"/>
          </a:p>
        </p:txBody>
      </p:sp>
    </p:spTree>
    <p:extLst>
      <p:ext uri="{BB962C8B-B14F-4D97-AF65-F5344CB8AC3E}">
        <p14:creationId xmlns:p14="http://schemas.microsoft.com/office/powerpoint/2010/main" val="2881032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54218-B6D2-EFEE-8D8A-B5EB171542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15CCF0-BCE7-9775-2C6F-3910C799D7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DA9363-299C-1070-4951-C1E925E1D51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9EA7D7C-476F-D7A4-3BFC-EEB4A2B02317}"/>
              </a:ext>
            </a:extLst>
          </p:cNvPr>
          <p:cNvSpPr>
            <a:spLocks noGrp="1"/>
          </p:cNvSpPr>
          <p:nvPr>
            <p:ph type="sldNum" sz="quarter" idx="10"/>
          </p:nvPr>
        </p:nvSpPr>
        <p:spPr/>
        <p:txBody>
          <a:bodyPr/>
          <a:lstStyle/>
          <a:p>
            <a:fld id="{53BF5AC0-C4B3-464D-8E9B-9D86370B7879}" type="slidenum">
              <a:rPr lang="en-GB" smtClean="0"/>
              <a:t>3</a:t>
            </a:fld>
            <a:endParaRPr lang="en-GB" dirty="0"/>
          </a:p>
        </p:txBody>
      </p:sp>
    </p:spTree>
    <p:extLst>
      <p:ext uri="{BB962C8B-B14F-4D97-AF65-F5344CB8AC3E}">
        <p14:creationId xmlns:p14="http://schemas.microsoft.com/office/powerpoint/2010/main" val="3200739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4</a:t>
            </a:fld>
            <a:endParaRPr lang="en-GB" dirty="0"/>
          </a:p>
        </p:txBody>
      </p:sp>
    </p:spTree>
    <p:extLst>
      <p:ext uri="{BB962C8B-B14F-4D97-AF65-F5344CB8AC3E}">
        <p14:creationId xmlns:p14="http://schemas.microsoft.com/office/powerpoint/2010/main" val="4159312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337E9-75CF-CB75-45D2-5D01026492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BF3D31-4CF1-3CF5-0AE8-0DCDBE3B2C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0C0E5E-3190-A67C-7C08-D7DF8DD4448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694633-F46F-FB47-FF60-AD2FFF78287D}"/>
              </a:ext>
            </a:extLst>
          </p:cNvPr>
          <p:cNvSpPr>
            <a:spLocks noGrp="1"/>
          </p:cNvSpPr>
          <p:nvPr>
            <p:ph type="sldNum" sz="quarter" idx="5"/>
          </p:nvPr>
        </p:nvSpPr>
        <p:spPr/>
        <p:txBody>
          <a:bodyPr/>
          <a:lstStyle/>
          <a:p>
            <a:fld id="{53BF5AC0-C4B3-464D-8E9B-9D86370B7879}" type="slidenum">
              <a:rPr lang="en-GB" smtClean="0"/>
              <a:t>5</a:t>
            </a:fld>
            <a:endParaRPr lang="en-GB" dirty="0"/>
          </a:p>
        </p:txBody>
      </p:sp>
    </p:spTree>
    <p:extLst>
      <p:ext uri="{BB962C8B-B14F-4D97-AF65-F5344CB8AC3E}">
        <p14:creationId xmlns:p14="http://schemas.microsoft.com/office/powerpoint/2010/main" val="3537159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B6CB9-6990-12C6-72A3-2F9C64CF85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FA8064-75FF-AFD3-A7F6-E86BFA01FB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A07CDB-7494-C583-26B1-11968D2DD528}"/>
              </a:ext>
            </a:extLst>
          </p:cNvPr>
          <p:cNvSpPr>
            <a:spLocks noGrp="1"/>
          </p:cNvSpPr>
          <p:nvPr>
            <p:ph type="body" idx="1"/>
          </p:nvPr>
        </p:nvSpPr>
        <p:spPr/>
        <p:txBody>
          <a:bodyPr/>
          <a:lstStyle/>
          <a:p>
            <a:r>
              <a:rPr lang="en-US" dirty="0"/>
              <a:t>Potentially draw comparison to incentives to harden homes</a:t>
            </a:r>
          </a:p>
        </p:txBody>
      </p:sp>
      <p:sp>
        <p:nvSpPr>
          <p:cNvPr id="4" name="Slide Number Placeholder 3">
            <a:extLst>
              <a:ext uri="{FF2B5EF4-FFF2-40B4-BE49-F238E27FC236}">
                <a16:creationId xmlns:a16="http://schemas.microsoft.com/office/drawing/2014/main" id="{C2B99630-1F01-167C-41C4-4984E2EB7B89}"/>
              </a:ext>
            </a:extLst>
          </p:cNvPr>
          <p:cNvSpPr>
            <a:spLocks noGrp="1"/>
          </p:cNvSpPr>
          <p:nvPr>
            <p:ph type="sldNum" sz="quarter" idx="10"/>
          </p:nvPr>
        </p:nvSpPr>
        <p:spPr/>
        <p:txBody>
          <a:bodyPr/>
          <a:lstStyle/>
          <a:p>
            <a:fld id="{53BF5AC0-C4B3-464D-8E9B-9D86370B7879}" type="slidenum">
              <a:rPr lang="en-GB" smtClean="0"/>
              <a:t>6</a:t>
            </a:fld>
            <a:endParaRPr lang="en-GB" dirty="0"/>
          </a:p>
        </p:txBody>
      </p:sp>
    </p:spTree>
    <p:extLst>
      <p:ext uri="{BB962C8B-B14F-4D97-AF65-F5344CB8AC3E}">
        <p14:creationId xmlns:p14="http://schemas.microsoft.com/office/powerpoint/2010/main" val="41781152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9</a:t>
            </a:fld>
            <a:endParaRPr lang="en-GB" dirty="0"/>
          </a:p>
        </p:txBody>
      </p:sp>
    </p:spTree>
    <p:extLst>
      <p:ext uri="{BB962C8B-B14F-4D97-AF65-F5344CB8AC3E}">
        <p14:creationId xmlns:p14="http://schemas.microsoft.com/office/powerpoint/2010/main" val="1375541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F652-5AA5-AE9B-2B01-4C68FBC11F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A4771-7B4D-347B-CF09-4816F1DD10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F66A74-9607-57AB-73C8-A66AE0B6B48E}"/>
              </a:ext>
            </a:extLst>
          </p:cNvPr>
          <p:cNvSpPr>
            <a:spLocks noGrp="1"/>
          </p:cNvSpPr>
          <p:nvPr>
            <p:ph type="body" idx="1"/>
          </p:nvPr>
        </p:nvSpPr>
        <p:spPr/>
        <p:txBody>
          <a:bodyPr/>
          <a:lstStyle/>
          <a:p>
            <a:r>
              <a:rPr lang="en-US" dirty="0"/>
              <a:t>Layer 1 – 7.1% (10-20 RP for mangroves removed)</a:t>
            </a:r>
          </a:p>
          <a:p>
            <a:r>
              <a:rPr lang="en-US" dirty="0"/>
              <a:t>Layer 11 – 0.87% (110-120 RP for mangroves removed)</a:t>
            </a:r>
          </a:p>
          <a:p>
            <a:endParaRPr lang="en-US" dirty="0"/>
          </a:p>
        </p:txBody>
      </p:sp>
      <p:sp>
        <p:nvSpPr>
          <p:cNvPr id="4" name="Slide Number Placeholder 3">
            <a:extLst>
              <a:ext uri="{FF2B5EF4-FFF2-40B4-BE49-F238E27FC236}">
                <a16:creationId xmlns:a16="http://schemas.microsoft.com/office/drawing/2014/main" id="{3FBAE754-7888-6EE2-1B83-692D69CAF3D3}"/>
              </a:ext>
            </a:extLst>
          </p:cNvPr>
          <p:cNvSpPr>
            <a:spLocks noGrp="1"/>
          </p:cNvSpPr>
          <p:nvPr>
            <p:ph type="sldNum" sz="quarter" idx="5"/>
          </p:nvPr>
        </p:nvSpPr>
        <p:spPr/>
        <p:txBody>
          <a:bodyPr/>
          <a:lstStyle/>
          <a:p>
            <a:fld id="{53BF5AC0-C4B3-464D-8E9B-9D86370B7879}" type="slidenum">
              <a:rPr lang="en-GB" smtClean="0"/>
              <a:t>10</a:t>
            </a:fld>
            <a:endParaRPr lang="en-GB" dirty="0"/>
          </a:p>
        </p:txBody>
      </p:sp>
    </p:spTree>
    <p:extLst>
      <p:ext uri="{BB962C8B-B14F-4D97-AF65-F5344CB8AC3E}">
        <p14:creationId xmlns:p14="http://schemas.microsoft.com/office/powerpoint/2010/main" val="3401626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11</a:t>
            </a:fld>
            <a:endParaRPr lang="en-GB" dirty="0"/>
          </a:p>
        </p:txBody>
      </p:sp>
    </p:spTree>
    <p:extLst>
      <p:ext uri="{BB962C8B-B14F-4D97-AF65-F5344CB8AC3E}">
        <p14:creationId xmlns:p14="http://schemas.microsoft.com/office/powerpoint/2010/main" val="19525592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12</a:t>
            </a:fld>
            <a:endParaRPr lang="en-GB" dirty="0"/>
          </a:p>
        </p:txBody>
      </p:sp>
    </p:spTree>
    <p:extLst>
      <p:ext uri="{BB962C8B-B14F-4D97-AF65-F5344CB8AC3E}">
        <p14:creationId xmlns:p14="http://schemas.microsoft.com/office/powerpoint/2010/main" val="38674711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17.xml"/><Relationship Id="rId7" Type="http://schemas.openxmlformats.org/officeDocument/2006/relationships/customXml" Target="../../customXml/item21.xml"/><Relationship Id="rId2" Type="http://schemas.openxmlformats.org/officeDocument/2006/relationships/customXml" Target="../../customXml/item16.xml"/><Relationship Id="rId1" Type="http://schemas.openxmlformats.org/officeDocument/2006/relationships/customXml" Target="../../customXml/item22.xml"/><Relationship Id="rId6" Type="http://schemas.openxmlformats.org/officeDocument/2006/relationships/customXml" Target="../../customXml/item20.xml"/><Relationship Id="rId11" Type="http://schemas.openxmlformats.org/officeDocument/2006/relationships/image" Target="../media/image5.png"/><Relationship Id="rId5" Type="http://schemas.openxmlformats.org/officeDocument/2006/relationships/customXml" Target="../../customXml/item19.xml"/><Relationship Id="rId10" Type="http://schemas.openxmlformats.org/officeDocument/2006/relationships/image" Target="../media/image4.png"/><Relationship Id="rId4" Type="http://schemas.openxmlformats.org/officeDocument/2006/relationships/customXml" Target="../../customXml/item18.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51.xml"/><Relationship Id="rId7" Type="http://schemas.openxmlformats.org/officeDocument/2006/relationships/slideMaster" Target="../slideMasters/slideMaster1.xml"/><Relationship Id="rId2" Type="http://schemas.openxmlformats.org/officeDocument/2006/relationships/customXml" Target="../../customXml/item50.xml"/><Relationship Id="rId1" Type="http://schemas.openxmlformats.org/officeDocument/2006/relationships/customXml" Target="../../customXml/item55.xml"/><Relationship Id="rId6" Type="http://schemas.openxmlformats.org/officeDocument/2006/relationships/customXml" Target="../../customXml/item54.xml"/><Relationship Id="rId5" Type="http://schemas.openxmlformats.org/officeDocument/2006/relationships/customXml" Target="../../customXml/item53.xml"/><Relationship Id="rId10" Type="http://schemas.openxmlformats.org/officeDocument/2006/relationships/image" Target="../media/image5.png"/><Relationship Id="rId4" Type="http://schemas.openxmlformats.org/officeDocument/2006/relationships/customXml" Target="../../customXml/item52.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25.xml"/><Relationship Id="rId2" Type="http://schemas.openxmlformats.org/officeDocument/2006/relationships/customXml" Target="../../customXml/item24.xml"/><Relationship Id="rId1" Type="http://schemas.openxmlformats.org/officeDocument/2006/relationships/customXml" Target="../../customXml/item23.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27.xml"/><Relationship Id="rId1" Type="http://schemas.openxmlformats.org/officeDocument/2006/relationships/customXml" Target="../../customXml/item2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28.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31.xml"/><Relationship Id="rId2" Type="http://schemas.openxmlformats.org/officeDocument/2006/relationships/customXml" Target="../../customXml/item30.xml"/><Relationship Id="rId1" Type="http://schemas.openxmlformats.org/officeDocument/2006/relationships/customXml" Target="../../customXml/item29.xml"/><Relationship Id="rId5" Type="http://schemas.openxmlformats.org/officeDocument/2006/relationships/slideMaster" Target="../slideMasters/slideMaster1.xml"/><Relationship Id="rId4" Type="http://schemas.openxmlformats.org/officeDocument/2006/relationships/customXml" Target="../../customXml/item32.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5.xml"/><Relationship Id="rId2" Type="http://schemas.openxmlformats.org/officeDocument/2006/relationships/customXml" Target="../../customXml/item34.xml"/><Relationship Id="rId1" Type="http://schemas.openxmlformats.org/officeDocument/2006/relationships/customXml" Target="../../customXml/item33.xml"/><Relationship Id="rId6" Type="http://schemas.openxmlformats.org/officeDocument/2006/relationships/slideMaster" Target="../slideMasters/slideMaster1.xml"/><Relationship Id="rId5" Type="http://schemas.openxmlformats.org/officeDocument/2006/relationships/customXml" Target="../../customXml/item37.xml"/><Relationship Id="rId4" Type="http://schemas.openxmlformats.org/officeDocument/2006/relationships/customXml" Target="../../customXml/item36.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40.xml"/><Relationship Id="rId7" Type="http://schemas.openxmlformats.org/officeDocument/2006/relationships/slideMaster" Target="../slideMasters/slideMaster1.xml"/><Relationship Id="rId2" Type="http://schemas.openxmlformats.org/officeDocument/2006/relationships/customXml" Target="../../customXml/item39.xml"/><Relationship Id="rId1" Type="http://schemas.openxmlformats.org/officeDocument/2006/relationships/customXml" Target="../../customXml/item38.xml"/><Relationship Id="rId6" Type="http://schemas.openxmlformats.org/officeDocument/2006/relationships/customXml" Target="../../customXml/item43.xml"/><Relationship Id="rId5" Type="http://schemas.openxmlformats.org/officeDocument/2006/relationships/customXml" Target="../../customXml/item42.xml"/><Relationship Id="rId4" Type="http://schemas.openxmlformats.org/officeDocument/2006/relationships/customXml" Target="../../customXml/item41.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45.xml"/><Relationship Id="rId2" Type="http://schemas.openxmlformats.org/officeDocument/2006/relationships/customXml" Target="../../customXml/item44.xml"/><Relationship Id="rId1" Type="http://schemas.openxmlformats.org/officeDocument/2006/relationships/customXml" Target="../../customXml/item46.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48.xml"/><Relationship Id="rId2" Type="http://schemas.openxmlformats.org/officeDocument/2006/relationships/customXml" Target="../../customXml/item47.xml"/><Relationship Id="rId1" Type="http://schemas.openxmlformats.org/officeDocument/2006/relationships/customXml" Target="../../customXml/item49.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US"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US" sz="1000" dirty="0">
                <a:solidFill>
                  <a:schemeClr val="lt1"/>
                </a:solidFill>
                <a:effectLst/>
                <a:latin typeface="Arial" panose="020B0604020202020204" pitchFamily="34" charset="0"/>
              </a:rPr>
              <a:t>A business of Marsh McLennan</a:t>
            </a:r>
            <a:endParaRPr lang="en-US"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dirty="0">
              <a:solidFill>
                <a:schemeClr val="accen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US"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Copyright © 2022 Guy Carpenter &amp; Company, LLC.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a:t>
            </a:r>
            <a:r>
              <a:rPr lang="en-US" sz="800" dirty="0" err="1">
                <a:solidFill>
                  <a:schemeClr val="lt1"/>
                </a:solidFill>
              </a:rPr>
              <a:t>FileRef</a:t>
            </a:r>
            <a:r>
              <a:rPr lang="en-US"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Back page: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587991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Back page gradient + disclaim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dirty="0"/>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222723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US"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dirty="0"/>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customXml" Target="../../customXml/item1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13.xml"/><Relationship Id="rId2" Type="http://schemas.openxmlformats.org/officeDocument/2006/relationships/slideLayout" Target="../slideLayouts/slideLayout2.xml"/><Relationship Id="rId16" Type="http://schemas.openxmlformats.org/officeDocument/2006/relationships/customXml" Target="../../customXml/item1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1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customXml/item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5"/>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6"/>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7"/>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8"/>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4"/>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0" r:id="rId11"/>
    <p:sldLayoutId id="2147483721" r:id="rId12"/>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58.xml"/><Relationship Id="rId2" Type="http://schemas.openxmlformats.org/officeDocument/2006/relationships/customXml" Target="../../customXml/item57.xml"/><Relationship Id="rId1" Type="http://schemas.openxmlformats.org/officeDocument/2006/relationships/customXml" Target="../../customXml/item56.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marshmclennan.com/insights/publications/2023/april/triggering-change-parametric-solutions.html"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9.xml"/><Relationship Id="rId7" Type="http://schemas.openxmlformats.org/officeDocument/2006/relationships/hyperlink" Target="https://www.marshmclennan.com/insights/publications/2023/april/triggering-change-parametric-solutions.html" TargetMode="External"/><Relationship Id="rId2" Type="http://schemas.openxmlformats.org/officeDocument/2006/relationships/slideLayout" Target="../slideLayouts/slideLayout2.xml"/><Relationship Id="rId1" Type="http://schemas.openxmlformats.org/officeDocument/2006/relationships/customXml" Target="../../customXml/item6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www.climate.gov/news-features/blogs/beyond-data/2024-active-year-us-billion-dollar-weather-and-climate-disasters" TargetMode="Externa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customXml" Target="../../customXml/item5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customXml" Target="../../customXml/item60.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hyperlink" Target="https://www.artemis.bm/deal-directory/metrocat-re-ltd-series-2023-1/" TargetMode="External"/><Relationship Id="rId13" Type="http://schemas.openxmlformats.org/officeDocument/2006/relationships/hyperlink" Target="https://www.artemis.bm/news/pacific-alliance-cat-bond-to-settle-at-1-36bn-priced-below-guidance/" TargetMode="External"/><Relationship Id="rId3" Type="http://schemas.openxmlformats.org/officeDocument/2006/relationships/image" Target="../media/image16.jpeg"/><Relationship Id="rId7" Type="http://schemas.openxmlformats.org/officeDocument/2006/relationships/image" Target="../media/image20.jpg"/><Relationship Id="rId12" Type="http://schemas.openxmlformats.org/officeDocument/2006/relationships/hyperlink" Target="https://www.ccrif.org/"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hyperlink" Target="https://www.artemis.bm/deal-directory/ibrd-car-mexico-2024/" TargetMode="External"/><Relationship Id="rId5" Type="http://schemas.openxmlformats.org/officeDocument/2006/relationships/image" Target="../media/image18.png"/><Relationship Id="rId10" Type="http://schemas.openxmlformats.org/officeDocument/2006/relationships/hyperlink" Target="https://www.artemis.bm/deal-directory/ibrd-car-jamaica-2024/" TargetMode="External"/><Relationship Id="rId4" Type="http://schemas.openxmlformats.org/officeDocument/2006/relationships/image" Target="../media/image17.png"/><Relationship Id="rId9" Type="http://schemas.openxmlformats.org/officeDocument/2006/relationships/hyperlink" Target="https://www.artemis.bm/news/swiss-re-guy-carpenter-iceye-deliver-nyc-parametric-flood-insurance/" TargetMode="External"/><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customXml" Target="../../customXml/item61.xml"/><Relationship Id="rId4" Type="http://schemas.openxmlformats.org/officeDocument/2006/relationships/image" Target="../media/image22.jp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ustomXml" Target="../../customXml/item63.xml"/><Relationship Id="rId7" Type="http://schemas.openxmlformats.org/officeDocument/2006/relationships/slideLayout" Target="../slideLayouts/slideLayout2.xml"/><Relationship Id="rId2" Type="http://schemas.openxmlformats.org/officeDocument/2006/relationships/customXml" Target="../../customXml/item62.xml"/><Relationship Id="rId1" Type="http://schemas.openxmlformats.org/officeDocument/2006/relationships/customXml" Target="../../customXml/item67.xml"/><Relationship Id="rId6" Type="http://schemas.openxmlformats.org/officeDocument/2006/relationships/customXml" Target="../../customXml/item66.xml"/><Relationship Id="rId5" Type="http://schemas.openxmlformats.org/officeDocument/2006/relationships/customXml" Target="../../customXml/item65.xml"/><Relationship Id="rId10" Type="http://schemas.openxmlformats.org/officeDocument/2006/relationships/image" Target="../media/image25.png"/><Relationship Id="rId4" Type="http://schemas.openxmlformats.org/officeDocument/2006/relationships/customXml" Target="../../customXml/item64.xml"/><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esenterDetails"/>
          <p:cNvSpPr>
            <a:spLocks noGrp="1"/>
          </p:cNvSpPr>
          <p:nvPr>
            <p:ph type="body" sz="half" idx="2"/>
            <p:custDataLst>
              <p:custData r:id="rId1"/>
            </p:custDataLst>
          </p:nvPr>
        </p:nvSpPr>
        <p:spPr/>
        <p:txBody>
          <a:bodyPr/>
          <a:lstStyle/>
          <a:p>
            <a:endParaRPr lang="en-US" dirty="0"/>
          </a:p>
          <a:p>
            <a:r>
              <a:rPr lang="en-US" dirty="0"/>
              <a:t>Laura (Lemke) Verderame, PhD (Laura.Verderame@guycarp.com)</a:t>
            </a:r>
          </a:p>
          <a:p>
            <a:r>
              <a:rPr lang="en-US" dirty="0"/>
              <a:t>Roberto </a:t>
            </a:r>
            <a:r>
              <a:rPr lang="en-US" dirty="0" err="1"/>
              <a:t>Guidotti</a:t>
            </a:r>
            <a:r>
              <a:rPr lang="en-US" dirty="0"/>
              <a:t>, PhD (Roberto.Guidotti@guycarp.com)</a:t>
            </a:r>
          </a:p>
          <a:p>
            <a:r>
              <a:rPr lang="it-IT" dirty="0"/>
              <a:t>Guillermo Franco, Ph.D., A.Re. (Guillermo.E.Franco@guycarp.com)</a:t>
            </a:r>
            <a:endParaRPr lang="en-US" dirty="0"/>
          </a:p>
        </p:txBody>
      </p:sp>
      <p:sp>
        <p:nvSpPr>
          <p:cNvPr id="5" name="ClientLogo" hidden="1"/>
          <p:cNvSpPr/>
          <p:nvPr>
            <p:custDataLst>
              <p:custData r:id="rId2"/>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bg1"/>
                </a:solidFill>
              </a:rPr>
              <a:t>Placeholder for optional client logo</a:t>
            </a:r>
          </a:p>
        </p:txBody>
      </p:sp>
      <p:sp>
        <p:nvSpPr>
          <p:cNvPr id="6" name="Title 1"/>
          <p:cNvSpPr>
            <a:spLocks noGrp="1"/>
          </p:cNvSpPr>
          <p:nvPr>
            <p:ph type="ctrTitle"/>
            <p:custDataLst>
              <p:custData r:id="rId3"/>
            </p:custDataLst>
          </p:nvPr>
        </p:nvSpPr>
        <p:spPr>
          <a:xfrm>
            <a:off x="486028" y="1186211"/>
            <a:ext cx="9086597" cy="1601978"/>
          </a:xfrm>
        </p:spPr>
        <p:txBody>
          <a:bodyPr/>
          <a:lstStyle/>
          <a:p>
            <a:r>
              <a:rPr lang="en-US" sz="4800" dirty="0"/>
              <a:t>Reduction in insurance premiums attributable to Nature-Based solutions</a:t>
            </a:r>
          </a:p>
        </p:txBody>
      </p:sp>
      <p:sp>
        <p:nvSpPr>
          <p:cNvPr id="8" name="Date 1"/>
          <p:cNvSpPr txBox="1">
            <a:spLocks/>
          </p:cNvSpPr>
          <p:nvPr/>
        </p:nvSpPr>
        <p:spPr>
          <a:xfrm>
            <a:off x="485775" y="3727932"/>
            <a:ext cx="7400925" cy="246769"/>
          </a:xfrm>
          <a:prstGeom prst="rect">
            <a:avLst/>
          </a:prstGeom>
        </p:spPr>
        <p:txBody>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None/>
            </a:pPr>
            <a:r>
              <a:rPr lang="en-US" sz="1400" i="1" dirty="0">
                <a:solidFill>
                  <a:schemeClr val="bg1"/>
                </a:solidFill>
              </a:rPr>
              <a:t>New Jersey Coastal Resilience Collaborative Coastal Flooding Technical Workshop</a:t>
            </a:r>
          </a:p>
          <a:p>
            <a:pPr marL="0" indent="0">
              <a:buNone/>
            </a:pPr>
            <a:r>
              <a:rPr lang="en-US" sz="1400" i="1" dirty="0">
                <a:solidFill>
                  <a:schemeClr val="bg1"/>
                </a:solidFill>
              </a:rPr>
              <a:t>March 19, 2025</a:t>
            </a: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74492-8048-63FF-C82E-EE65357F2A3F}"/>
            </a:ext>
          </a:extLst>
        </p:cNvPr>
        <p:cNvGrpSpPr/>
        <p:nvPr/>
      </p:nvGrpSpPr>
      <p:grpSpPr>
        <a:xfrm>
          <a:off x="0" y="0"/>
          <a:ext cx="0" cy="0"/>
          <a:chOff x="0" y="0"/>
          <a:chExt cx="0" cy="0"/>
        </a:xfrm>
      </p:grpSpPr>
      <p:grpSp>
        <p:nvGrpSpPr>
          <p:cNvPr id="10" name="Group 9">
            <a:extLst>
              <a:ext uri="{FF2B5EF4-FFF2-40B4-BE49-F238E27FC236}">
                <a16:creationId xmlns:a16="http://schemas.microsoft.com/office/drawing/2014/main" id="{6915E9FF-4639-89C5-1744-32E7C9B42127}"/>
              </a:ext>
            </a:extLst>
          </p:cNvPr>
          <p:cNvGrpSpPr/>
          <p:nvPr/>
        </p:nvGrpSpPr>
        <p:grpSpPr>
          <a:xfrm>
            <a:off x="8122920" y="0"/>
            <a:ext cx="4069080" cy="6858000"/>
            <a:chOff x="6211018" y="0"/>
            <a:chExt cx="4069080" cy="6858000"/>
          </a:xfrm>
        </p:grpSpPr>
        <p:sp>
          <p:nvSpPr>
            <p:cNvPr id="11" name="Rectangle 10">
              <a:extLst>
                <a:ext uri="{FF2B5EF4-FFF2-40B4-BE49-F238E27FC236}">
                  <a16:creationId xmlns:a16="http://schemas.microsoft.com/office/drawing/2014/main" id="{4678364F-9E9F-B261-8BCD-75B38F2EC6AF}"/>
                </a:ext>
              </a:extLst>
            </p:cNvPr>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12" name="Isosceles Triangle 11">
              <a:extLst>
                <a:ext uri="{FF2B5EF4-FFF2-40B4-BE49-F238E27FC236}">
                  <a16:creationId xmlns:a16="http://schemas.microsoft.com/office/drawing/2014/main" id="{C41948CE-56F6-906E-C9B3-8E3906D94900}"/>
                </a:ext>
              </a:extLst>
            </p:cNvPr>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graphicFrame>
        <p:nvGraphicFramePr>
          <p:cNvPr id="47" name="Chart 46">
            <a:extLst>
              <a:ext uri="{FF2B5EF4-FFF2-40B4-BE49-F238E27FC236}">
                <a16:creationId xmlns:a16="http://schemas.microsoft.com/office/drawing/2014/main" id="{FE73F535-9520-4A42-910E-A6E6369420BF}"/>
              </a:ext>
            </a:extLst>
          </p:cNvPr>
          <p:cNvGraphicFramePr>
            <a:graphicFrameLocks/>
          </p:cNvGraphicFramePr>
          <p:nvPr>
            <p:extLst>
              <p:ext uri="{D42A27DB-BD31-4B8C-83A1-F6EECF244321}">
                <p14:modId xmlns:p14="http://schemas.microsoft.com/office/powerpoint/2010/main" val="1513515423"/>
              </p:ext>
            </p:extLst>
          </p:nvPr>
        </p:nvGraphicFramePr>
        <p:xfrm>
          <a:off x="134482" y="1308060"/>
          <a:ext cx="7589520" cy="493613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C4F964E3-94D4-407E-0FB5-DEFFB1666910}"/>
              </a:ext>
            </a:extLst>
          </p:cNvPr>
          <p:cNvSpPr>
            <a:spLocks noGrp="1"/>
          </p:cNvSpPr>
          <p:nvPr>
            <p:ph type="title"/>
          </p:nvPr>
        </p:nvSpPr>
        <p:spPr>
          <a:xfrm>
            <a:off x="485776" y="355601"/>
            <a:ext cx="7543800" cy="495299"/>
          </a:xfrm>
        </p:spPr>
        <p:txBody>
          <a:bodyPr/>
          <a:lstStyle/>
          <a:p>
            <a:pPr>
              <a:lnSpc>
                <a:spcPct val="90000"/>
              </a:lnSpc>
            </a:pPr>
            <a:r>
              <a:rPr lang="en-US" dirty="0"/>
              <a:t>Reduction in Insurance Premiums</a:t>
            </a:r>
            <a:br>
              <a:rPr lang="en-US" dirty="0"/>
            </a:br>
            <a:endParaRPr lang="en-US" dirty="0"/>
          </a:p>
        </p:txBody>
      </p:sp>
      <p:sp>
        <p:nvSpPr>
          <p:cNvPr id="3" name="Slide Number Placeholder 2">
            <a:extLst>
              <a:ext uri="{FF2B5EF4-FFF2-40B4-BE49-F238E27FC236}">
                <a16:creationId xmlns:a16="http://schemas.microsoft.com/office/drawing/2014/main" id="{9C9352B1-2B58-80F6-B852-6D5B6A50A1DB}"/>
              </a:ext>
            </a:extLst>
          </p:cNvPr>
          <p:cNvSpPr>
            <a:spLocks noGrp="1"/>
          </p:cNvSpPr>
          <p:nvPr>
            <p:ph type="sldNum" sz="quarter" idx="10"/>
          </p:nvPr>
        </p:nvSpPr>
        <p:spPr/>
        <p:txBody>
          <a:bodyPr/>
          <a:lstStyle/>
          <a:p>
            <a:pPr algn="r"/>
            <a:fld id="{DF66040D-6F20-4F4B-8995-856BEECD84BE}" type="slidenum">
              <a:rPr lang="en-US" smtClean="0">
                <a:solidFill>
                  <a:schemeClr val="bg1"/>
                </a:solidFill>
              </a:rPr>
              <a:pPr algn="r"/>
              <a:t>10</a:t>
            </a:fld>
            <a:endParaRPr lang="en-US" dirty="0">
              <a:solidFill>
                <a:schemeClr val="bg1"/>
              </a:solidFill>
            </a:endParaRPr>
          </a:p>
        </p:txBody>
      </p:sp>
      <p:sp>
        <p:nvSpPr>
          <p:cNvPr id="9" name="TextBox 8">
            <a:extLst>
              <a:ext uri="{FF2B5EF4-FFF2-40B4-BE49-F238E27FC236}">
                <a16:creationId xmlns:a16="http://schemas.microsoft.com/office/drawing/2014/main" id="{6EBE607D-DC04-FB23-9CD0-1B87D9424F10}"/>
              </a:ext>
            </a:extLst>
          </p:cNvPr>
          <p:cNvSpPr txBox="1"/>
          <p:nvPr/>
        </p:nvSpPr>
        <p:spPr>
          <a:xfrm>
            <a:off x="8419192" y="1308060"/>
            <a:ext cx="3421513" cy="2769989"/>
          </a:xfrm>
          <a:prstGeom prst="rect">
            <a:avLst/>
          </a:prstGeom>
          <a:noFill/>
        </p:spPr>
        <p:txBody>
          <a:bodyPr wrap="square" lIns="0" tIns="0" rIns="0" bIns="0" rtlCol="0">
            <a:spAutoFit/>
          </a:bodyPr>
          <a:lstStyle/>
          <a:p>
            <a:pPr algn="l"/>
            <a:r>
              <a:rPr lang="en-US" sz="2000" b="1" dirty="0">
                <a:solidFill>
                  <a:schemeClr val="bg1"/>
                </a:solidFill>
              </a:rPr>
              <a:t>Prices are estimated for a series of parametric insurance structures and compared for the two Scenarios</a:t>
            </a:r>
          </a:p>
          <a:p>
            <a:pPr algn="l"/>
            <a:endParaRPr lang="en-US" sz="2000" b="1" dirty="0">
              <a:solidFill>
                <a:schemeClr val="bg1"/>
              </a:solidFill>
            </a:endParaRPr>
          </a:p>
          <a:p>
            <a:pPr algn="l"/>
            <a:r>
              <a:rPr lang="en-US" sz="2000" b="1" dirty="0">
                <a:solidFill>
                  <a:schemeClr val="bg1"/>
                </a:solidFill>
              </a:rPr>
              <a:t>We observe variations in price reduction across geographies and structures</a:t>
            </a:r>
          </a:p>
        </p:txBody>
      </p:sp>
      <p:sp>
        <p:nvSpPr>
          <p:cNvPr id="34" name="TextBox 33">
            <a:extLst>
              <a:ext uri="{FF2B5EF4-FFF2-40B4-BE49-F238E27FC236}">
                <a16:creationId xmlns:a16="http://schemas.microsoft.com/office/drawing/2014/main" id="{3E3BA3E8-5DC1-0A1E-C063-22BF9966E4B9}"/>
              </a:ext>
            </a:extLst>
          </p:cNvPr>
          <p:cNvSpPr txBox="1"/>
          <p:nvPr/>
        </p:nvSpPr>
        <p:spPr>
          <a:xfrm>
            <a:off x="1769897" y="1652189"/>
            <a:ext cx="2159345" cy="646331"/>
          </a:xfrm>
          <a:prstGeom prst="wedgeRectCallout">
            <a:avLst>
              <a:gd name="adj1" fmla="val 66835"/>
              <a:gd name="adj2" fmla="val 28895"/>
            </a:avLst>
          </a:prstGeom>
          <a:solidFill>
            <a:schemeClr val="accent2">
              <a:alpha val="85000"/>
            </a:schemeClr>
          </a:solidFill>
          <a:ln>
            <a:noFill/>
          </a:ln>
        </p:spPr>
        <p:txBody>
          <a:bodyPr wrap="square">
            <a:spAutoFit/>
          </a:bodyPr>
          <a:lstStyle>
            <a:defPPr>
              <a:defRPr lang="en-GB"/>
            </a:defPPr>
            <a:lvl1pPr>
              <a:defRPr sz="1200" b="1">
                <a:solidFill>
                  <a:schemeClr val="bg1"/>
                </a:solidFill>
              </a:defRPr>
            </a:lvl1pPr>
          </a:lstStyle>
          <a:p>
            <a:r>
              <a:rPr lang="en-US" dirty="0"/>
              <a:t>The largest price reduction is observed for moderate events at local level</a:t>
            </a:r>
          </a:p>
        </p:txBody>
      </p:sp>
      <p:sp>
        <p:nvSpPr>
          <p:cNvPr id="35" name="TextBox 34">
            <a:extLst>
              <a:ext uri="{FF2B5EF4-FFF2-40B4-BE49-F238E27FC236}">
                <a16:creationId xmlns:a16="http://schemas.microsoft.com/office/drawing/2014/main" id="{CC993B87-B087-08E5-C67D-84ECD7E85FEF}"/>
              </a:ext>
            </a:extLst>
          </p:cNvPr>
          <p:cNvSpPr txBox="1"/>
          <p:nvPr/>
        </p:nvSpPr>
        <p:spPr>
          <a:xfrm>
            <a:off x="992905" y="1218522"/>
            <a:ext cx="6281655" cy="184666"/>
          </a:xfrm>
          <a:prstGeom prst="rect">
            <a:avLst/>
          </a:prstGeom>
          <a:noFill/>
        </p:spPr>
        <p:txBody>
          <a:bodyPr wrap="square" lIns="0" tIns="0" rIns="0" bIns="0" rtlCol="0">
            <a:spAutoFit/>
          </a:bodyPr>
          <a:lstStyle/>
          <a:p>
            <a:pPr algn="ctr"/>
            <a:r>
              <a:rPr lang="en-US" sz="1200" b="1" dirty="0"/>
              <a:t>Price Reduction for Insurance Structures across Three Geographic Regions</a:t>
            </a:r>
          </a:p>
        </p:txBody>
      </p:sp>
      <p:sp>
        <p:nvSpPr>
          <p:cNvPr id="4" name="TextBox 3">
            <a:extLst>
              <a:ext uri="{FF2B5EF4-FFF2-40B4-BE49-F238E27FC236}">
                <a16:creationId xmlns:a16="http://schemas.microsoft.com/office/drawing/2014/main" id="{F9372BCF-203F-B831-B025-638EECBA0F93}"/>
              </a:ext>
            </a:extLst>
          </p:cNvPr>
          <p:cNvSpPr txBox="1"/>
          <p:nvPr/>
        </p:nvSpPr>
        <p:spPr>
          <a:xfrm>
            <a:off x="850554" y="5584039"/>
            <a:ext cx="1862165" cy="461665"/>
          </a:xfrm>
          <a:prstGeom prst="rect">
            <a:avLst/>
          </a:prstGeom>
          <a:noFill/>
        </p:spPr>
        <p:txBody>
          <a:bodyPr wrap="square" lIns="0" tIns="0" rIns="0" bIns="0" rtlCol="0">
            <a:spAutoFit/>
          </a:bodyPr>
          <a:lstStyle/>
          <a:p>
            <a:pPr algn="ctr"/>
            <a:r>
              <a:rPr lang="en-US" sz="1500" b="1" dirty="0">
                <a:solidFill>
                  <a:schemeClr val="accent1"/>
                </a:solidFill>
              </a:rPr>
              <a:t>Structures Targeting Frequent Events</a:t>
            </a:r>
          </a:p>
        </p:txBody>
      </p:sp>
      <p:sp>
        <p:nvSpPr>
          <p:cNvPr id="5" name="TextBox 4">
            <a:extLst>
              <a:ext uri="{FF2B5EF4-FFF2-40B4-BE49-F238E27FC236}">
                <a16:creationId xmlns:a16="http://schemas.microsoft.com/office/drawing/2014/main" id="{DE7BCA14-D8A8-1AD1-90D8-5EEA8565D59C}"/>
              </a:ext>
            </a:extLst>
          </p:cNvPr>
          <p:cNvSpPr txBox="1"/>
          <p:nvPr/>
        </p:nvSpPr>
        <p:spPr>
          <a:xfrm>
            <a:off x="5767463" y="5584038"/>
            <a:ext cx="1862165" cy="461665"/>
          </a:xfrm>
          <a:prstGeom prst="rect">
            <a:avLst/>
          </a:prstGeom>
          <a:noFill/>
        </p:spPr>
        <p:txBody>
          <a:bodyPr wrap="square" lIns="0" tIns="0" rIns="0" bIns="0" rtlCol="0">
            <a:spAutoFit/>
          </a:bodyPr>
          <a:lstStyle/>
          <a:p>
            <a:pPr algn="ctr"/>
            <a:r>
              <a:rPr lang="en-US" sz="1500" b="1" dirty="0">
                <a:solidFill>
                  <a:schemeClr val="accent1"/>
                </a:solidFill>
              </a:rPr>
              <a:t>Structures Targeting Rare Events</a:t>
            </a:r>
          </a:p>
        </p:txBody>
      </p:sp>
    </p:spTree>
    <p:extLst>
      <p:ext uri="{BB962C8B-B14F-4D97-AF65-F5344CB8AC3E}">
        <p14:creationId xmlns:p14="http://schemas.microsoft.com/office/powerpoint/2010/main" val="648499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aways &amp; Next Steps</a:t>
            </a:r>
          </a:p>
        </p:txBody>
      </p:sp>
      <p:sp>
        <p:nvSpPr>
          <p:cNvPr id="3" name="Content Placeholder 2"/>
          <p:cNvSpPr>
            <a:spLocks noGrp="1"/>
          </p:cNvSpPr>
          <p:nvPr>
            <p:ph idx="1"/>
          </p:nvPr>
        </p:nvSpPr>
        <p:spPr>
          <a:xfrm>
            <a:off x="485776" y="1609725"/>
            <a:ext cx="7336320" cy="4514302"/>
          </a:xfrm>
        </p:spPr>
        <p:txBody>
          <a:bodyPr/>
          <a:lstStyle/>
          <a:p>
            <a:r>
              <a:rPr lang="en-US" sz="1600" dirty="0"/>
              <a:t>With increasing coastal risks, communities may consider both solutions that </a:t>
            </a:r>
            <a:r>
              <a:rPr lang="en-US" sz="1600" b="1" dirty="0"/>
              <a:t>mitigate the risk </a:t>
            </a:r>
            <a:r>
              <a:rPr lang="en-US" sz="1600" dirty="0"/>
              <a:t>(e.g. NBS) and those that </a:t>
            </a:r>
            <a:r>
              <a:rPr lang="en-US" sz="1600" b="1" dirty="0"/>
              <a:t>transfer the risk </a:t>
            </a:r>
            <a:r>
              <a:rPr lang="en-US" sz="1600" dirty="0"/>
              <a:t>(e.g. insurance)</a:t>
            </a:r>
          </a:p>
          <a:p>
            <a:endParaRPr lang="en-US" sz="1600" dirty="0"/>
          </a:p>
          <a:p>
            <a:r>
              <a:rPr lang="en-US" sz="1600" dirty="0"/>
              <a:t>Investment in nature-based solutions has the potential to offer savings in risk transfer solutions</a:t>
            </a:r>
          </a:p>
          <a:p>
            <a:endParaRPr lang="en-US" sz="1600" dirty="0"/>
          </a:p>
          <a:p>
            <a:r>
              <a:rPr lang="en-US" sz="1600" dirty="0"/>
              <a:t>In a case study for the Philippines, we observe the greatest premium reductions (up to ~12%) for insurance structures targeting </a:t>
            </a:r>
            <a:r>
              <a:rPr lang="en-US" sz="1600" b="1" dirty="0"/>
              <a:t>moderate events </a:t>
            </a:r>
            <a:r>
              <a:rPr lang="en-US" sz="1600" dirty="0"/>
              <a:t>at a </a:t>
            </a:r>
            <a:r>
              <a:rPr lang="en-US" sz="1600" b="1" dirty="0"/>
              <a:t>local level</a:t>
            </a:r>
            <a:endParaRPr lang="en-US" sz="1600" dirty="0"/>
          </a:p>
          <a:p>
            <a:endParaRPr lang="en-US" sz="1600" b="1" dirty="0"/>
          </a:p>
          <a:p>
            <a:r>
              <a:rPr lang="en-US" sz="1600" dirty="0"/>
              <a:t>We expect these results to further encourage</a:t>
            </a:r>
            <a:r>
              <a:rPr lang="en-US" sz="1600" b="1" dirty="0"/>
              <a:t> investment in NBS </a:t>
            </a:r>
            <a:r>
              <a:rPr lang="en-US" sz="1600" dirty="0"/>
              <a:t>and motivate </a:t>
            </a:r>
            <a:r>
              <a:rPr lang="en-US" sz="1600" b="1" dirty="0"/>
              <a:t>similar studies in other geographies</a:t>
            </a:r>
            <a:endParaRPr lang="en-US" sz="1600" dirty="0"/>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11</a:t>
            </a:fld>
            <a:endParaRPr lang="en-US"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6" name="Text Placeholder 5"/>
          <p:cNvSpPr>
            <a:spLocks noGrp="1"/>
          </p:cNvSpPr>
          <p:nvPr>
            <p:ph type="body" sz="quarter" idx="12"/>
          </p:nvPr>
        </p:nvSpPr>
        <p:spPr/>
        <p:txBody>
          <a:bodyPr/>
          <a:lstStyle/>
          <a:p>
            <a:endParaRPr lang="en-US"/>
          </a:p>
        </p:txBody>
      </p:sp>
      <p:grpSp>
        <p:nvGrpSpPr>
          <p:cNvPr id="8" name="Group 7"/>
          <p:cNvGrpSpPr/>
          <p:nvPr/>
        </p:nvGrpSpPr>
        <p:grpSpPr>
          <a:xfrm>
            <a:off x="8122920" y="0"/>
            <a:ext cx="4069080" cy="6858000"/>
            <a:chOff x="6211018" y="0"/>
            <a:chExt cx="4069080" cy="6858000"/>
          </a:xfrm>
        </p:grpSpPr>
        <p:sp>
          <p:nvSpPr>
            <p:cNvPr id="9" name="Rectangle 8"/>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10" name="Isosceles Triangle 9"/>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11" name="Rectangle 10"/>
          <p:cNvSpPr/>
          <p:nvPr/>
        </p:nvSpPr>
        <p:spPr>
          <a:xfrm>
            <a:off x="8357528" y="1391974"/>
            <a:ext cx="3599863" cy="2808461"/>
          </a:xfrm>
          <a:prstGeom prst="rect">
            <a:avLst/>
          </a:prstGeom>
        </p:spPr>
        <p:txBody>
          <a:bodyPr wrap="square">
            <a:spAutoFit/>
          </a:bodyPr>
          <a:lstStyle/>
          <a:p>
            <a:pPr marL="0" lvl="1">
              <a:spcAft>
                <a:spcPts val="300"/>
              </a:spcAft>
            </a:pPr>
            <a:r>
              <a:rPr lang="en-US" sz="1600" b="1" kern="0" dirty="0">
                <a:solidFill>
                  <a:schemeClr val="bg1"/>
                </a:solidFill>
              </a:rPr>
              <a:t>Related Publications:</a:t>
            </a:r>
          </a:p>
          <a:p>
            <a:pPr marL="0" lvl="1">
              <a:spcAft>
                <a:spcPts val="300"/>
              </a:spcAft>
            </a:pPr>
            <a:endParaRPr lang="en-US" sz="1600" b="1" kern="0" dirty="0">
              <a:solidFill>
                <a:schemeClr val="bg1"/>
              </a:solidFill>
            </a:endParaRPr>
          </a:p>
          <a:p>
            <a:pPr marL="0" lvl="1">
              <a:spcAft>
                <a:spcPts val="300"/>
              </a:spcAft>
            </a:pPr>
            <a:r>
              <a:rPr lang="en-US" sz="1600" b="1" kern="0" dirty="0">
                <a:solidFill>
                  <a:schemeClr val="bg1"/>
                </a:solidFill>
              </a:rPr>
              <a:t>“Reduction in Insurance Premiums Attributable to Mangrove Systems</a:t>
            </a:r>
          </a:p>
          <a:p>
            <a:pPr marL="0" lvl="1">
              <a:spcAft>
                <a:spcPts val="300"/>
              </a:spcAft>
            </a:pPr>
            <a:r>
              <a:rPr lang="en-US" sz="1600" b="1" kern="0" dirty="0">
                <a:solidFill>
                  <a:schemeClr val="bg1"/>
                </a:solidFill>
              </a:rPr>
              <a:t>in the Philippines.” Lemke-Verderame et. al., in preparation.</a:t>
            </a:r>
          </a:p>
          <a:p>
            <a:pPr marL="0" lvl="1">
              <a:spcAft>
                <a:spcPts val="300"/>
              </a:spcAft>
            </a:pPr>
            <a:endParaRPr lang="en-US" sz="1600" b="1" kern="0" dirty="0">
              <a:solidFill>
                <a:schemeClr val="bg1"/>
              </a:solidFill>
            </a:endParaRPr>
          </a:p>
          <a:p>
            <a:pPr marL="0" lvl="1">
              <a:spcAft>
                <a:spcPts val="300"/>
              </a:spcAft>
            </a:pPr>
            <a:r>
              <a:rPr lang="en-US" sz="1600" b="1" kern="0" dirty="0">
                <a:solidFill>
                  <a:schemeClr val="bg1"/>
                </a:solidFill>
              </a:rPr>
              <a:t>Triggering Change: Parametric Solutions for Climate Resilience </a:t>
            </a:r>
            <a:r>
              <a:rPr lang="en-US" sz="1000" b="1" kern="0" dirty="0">
                <a:solidFill>
                  <a:schemeClr val="bg1"/>
                </a:solidFill>
              </a:rPr>
              <a:t>(</a:t>
            </a:r>
            <a:r>
              <a:rPr lang="en-US" sz="1000" b="1" kern="0" dirty="0">
                <a:solidFill>
                  <a:schemeClr val="bg1"/>
                </a:solidFill>
                <a:hlinkClick r:id="rId3">
                  <a:extLst>
                    <a:ext uri="{A12FA001-AC4F-418D-AE19-62706E023703}">
                      <ahyp:hlinkClr xmlns:ahyp="http://schemas.microsoft.com/office/drawing/2018/hyperlinkcolor" val="tx"/>
                    </a:ext>
                  </a:extLst>
                </a:hlinkClick>
              </a:rPr>
              <a:t>https://www.marshmclennan.com/insights/publications/2023/april/triggering-change-parametric-solutions.html</a:t>
            </a:r>
            <a:r>
              <a:rPr lang="en-US" sz="1000" b="1" kern="0" dirty="0">
                <a:solidFill>
                  <a:schemeClr val="bg1"/>
                </a:solidFill>
              </a:rPr>
              <a:t>)</a:t>
            </a:r>
          </a:p>
        </p:txBody>
      </p:sp>
      <p:sp>
        <p:nvSpPr>
          <p:cNvPr id="20" name="TextBox 19">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8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042050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MMC_Logo_Colour_1" descr="The Guy Carpenter company logo."/>
          <p:cNvPicPr/>
          <p:nvPr/>
        </p:nvPicPr>
        <p:blipFill>
          <a:blip r:embed="rId4" cstate="print">
            <a:extLst>
              <a:ext uri="{28A0092B-C50C-407E-A947-70E740481C1C}">
                <a14:useLocalDpi xmlns:a14="http://schemas.microsoft.com/office/drawing/2010/main" val="0"/>
              </a:ext>
            </a:extLst>
          </a:blip>
          <a:stretch>
            <a:fillRect/>
          </a:stretch>
        </p:blipFill>
        <p:spPr>
          <a:xfrm>
            <a:off x="498213" y="322816"/>
            <a:ext cx="3069377" cy="335281"/>
          </a:xfrm>
          <a:prstGeom prst="rect">
            <a:avLst/>
          </a:prstGeom>
        </p:spPr>
      </p:pic>
      <p:grpSp>
        <p:nvGrpSpPr>
          <p:cNvPr id="20" name="Group 19"/>
          <p:cNvGrpSpPr/>
          <p:nvPr/>
        </p:nvGrpSpPr>
        <p:grpSpPr>
          <a:xfrm>
            <a:off x="8122920" y="0"/>
            <a:ext cx="4069080" cy="6858000"/>
            <a:chOff x="6211018" y="0"/>
            <a:chExt cx="4069080" cy="6858000"/>
          </a:xfrm>
        </p:grpSpPr>
        <p:sp>
          <p:nvSpPr>
            <p:cNvPr id="21" name="Rectangle 20"/>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22" name="Isosceles Triangle 21"/>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4" name="Slide Number Placeholder 3"/>
          <p:cNvSpPr>
            <a:spLocks noGrp="1"/>
          </p:cNvSpPr>
          <p:nvPr>
            <p:ph type="sldNum" sz="quarter" idx="10"/>
          </p:nvPr>
        </p:nvSpPr>
        <p:spPr/>
        <p:txBody>
          <a:bodyPr/>
          <a:lstStyle/>
          <a:p>
            <a:pPr algn="r"/>
            <a:fld id="{DF66040D-6F20-4F4B-8995-856BEECD84BE}" type="slidenum">
              <a:rPr lang="en-US" smtClean="0">
                <a:solidFill>
                  <a:schemeClr val="bg1"/>
                </a:solidFill>
              </a:rPr>
              <a:pPr algn="r"/>
              <a:t>12</a:t>
            </a:fld>
            <a:endParaRPr lang="en-US" dirty="0">
              <a:solidFill>
                <a:schemeClr val="bg1"/>
              </a:solidFill>
            </a:endParaRPr>
          </a:p>
        </p:txBody>
      </p:sp>
      <p:sp>
        <p:nvSpPr>
          <p:cNvPr id="13" name="Location 1"/>
          <p:cNvSpPr txBox="1">
            <a:spLocks/>
          </p:cNvSpPr>
          <p:nvPr/>
        </p:nvSpPr>
        <p:spPr>
          <a:xfrm>
            <a:off x="486030" y="2131781"/>
            <a:ext cx="6873994" cy="791972"/>
          </a:xfrm>
          <a:prstGeom prst="rect">
            <a:avLst/>
          </a:prstGeom>
        </p:spPr>
        <p:txBody>
          <a:bodyPr lIns="0"/>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None/>
            </a:pPr>
            <a:r>
              <a:rPr lang="en-US" sz="2000" b="1" cap="all" dirty="0"/>
              <a:t>Reduction in insurance premiums attributable to Nature-Based solutions</a:t>
            </a:r>
          </a:p>
        </p:txBody>
      </p:sp>
      <p:sp>
        <p:nvSpPr>
          <p:cNvPr id="14" name="Date 1"/>
          <p:cNvSpPr>
            <a:spLocks noGrp="1"/>
          </p:cNvSpPr>
          <p:nvPr>
            <p:ph type="body" sz="half" idx="10"/>
          </p:nvPr>
        </p:nvSpPr>
        <p:spPr>
          <a:xfrm>
            <a:off x="485775" y="3372309"/>
            <a:ext cx="7400925" cy="1409889"/>
          </a:xfrm>
        </p:spPr>
        <p:txBody>
          <a:bodyPr>
            <a:normAutofit/>
          </a:bodyPr>
          <a:lstStyle/>
          <a:p>
            <a:pPr marL="0" indent="0" algn="l">
              <a:spcBef>
                <a:spcPts val="0"/>
              </a:spcBef>
              <a:spcAft>
                <a:spcPts val="0"/>
              </a:spcAft>
              <a:buNone/>
            </a:pPr>
            <a:r>
              <a:rPr lang="en-US" sz="1400" dirty="0"/>
              <a:t>New Jersey Coastal Resilience Collaborative Coastal Flooding Technical Workshop</a:t>
            </a:r>
          </a:p>
          <a:p>
            <a:pPr marL="0" indent="0" algn="l">
              <a:spcBef>
                <a:spcPts val="0"/>
              </a:spcBef>
              <a:spcAft>
                <a:spcPts val="0"/>
              </a:spcAft>
              <a:buNone/>
            </a:pPr>
            <a:r>
              <a:rPr lang="en-US" sz="1400" dirty="0"/>
              <a:t>March 19, 2025</a:t>
            </a:r>
          </a:p>
          <a:p>
            <a:pPr marL="0" indent="0" algn="l">
              <a:spcBef>
                <a:spcPts val="0"/>
              </a:spcBef>
              <a:spcAft>
                <a:spcPts val="0"/>
              </a:spcAft>
              <a:buNone/>
            </a:pPr>
            <a:endParaRPr lang="en-US" sz="1400" dirty="0">
              <a:solidFill>
                <a:srgbClr val="FF0000"/>
              </a:solidFill>
            </a:endParaRPr>
          </a:p>
          <a:p>
            <a:pPr marL="0" indent="0" algn="l">
              <a:spcAft>
                <a:spcPts val="0"/>
              </a:spcAft>
              <a:buNone/>
            </a:pPr>
            <a:r>
              <a:rPr lang="en-US" sz="1400" dirty="0"/>
              <a:t>Laura (Lemke) Verderame, PhD (Laura.Verderame@guycarp.com) </a:t>
            </a:r>
          </a:p>
          <a:p>
            <a:pPr marL="0" indent="0" algn="l">
              <a:spcAft>
                <a:spcPts val="0"/>
              </a:spcAft>
              <a:buNone/>
            </a:pPr>
            <a:r>
              <a:rPr lang="it-IT" sz="1400" dirty="0"/>
              <a:t>Roberto Guidotti, PhD (Roberto.Guidotti@guycarp.com)</a:t>
            </a:r>
          </a:p>
          <a:p>
            <a:pPr marL="0" indent="0" algn="l">
              <a:spcAft>
                <a:spcPts val="0"/>
              </a:spcAft>
              <a:buNone/>
            </a:pPr>
            <a:r>
              <a:rPr lang="it-IT" sz="1400" dirty="0"/>
              <a:t>Guillermo Franco, Ph.D., A.Re. (Guillermo.E.Franco@guycarp.com)</a:t>
            </a:r>
          </a:p>
          <a:p>
            <a:pPr marL="0" indent="0" algn="l">
              <a:spcAft>
                <a:spcPts val="0"/>
              </a:spcAft>
              <a:buNone/>
            </a:pPr>
            <a:endParaRPr lang="en-US" sz="1400" dirty="0"/>
          </a:p>
          <a:p>
            <a:pPr marL="0" indent="0" algn="l">
              <a:spcBef>
                <a:spcPts val="0"/>
              </a:spcBef>
              <a:spcAft>
                <a:spcPts val="0"/>
              </a:spcAft>
              <a:buNone/>
            </a:pPr>
            <a:endParaRPr lang="en-US" sz="1400" dirty="0">
              <a:solidFill>
                <a:srgbClr val="FF0000"/>
              </a:solidFill>
            </a:endParaRPr>
          </a:p>
          <a:p>
            <a:pPr algn="l"/>
            <a:endParaRPr dirty="0">
              <a:solidFill>
                <a:srgbClr val="FF0000"/>
              </a:solidFill>
            </a:endParaRPr>
          </a:p>
        </p:txBody>
      </p:sp>
      <p:pic>
        <p:nvPicPr>
          <p:cNvPr id="15" name="Picture 2" descr="KatRis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58827" y="5521006"/>
            <a:ext cx="990687" cy="54864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AFC753E0-B94D-2E44-B2BB-5A42BBF574D5}"/>
              </a:ext>
            </a:extLst>
          </p:cNvPr>
          <p:cNvSpPr txBox="1"/>
          <p:nvPr>
            <p:custDataLst>
              <p:custData r:id="rId1"/>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kern="1200" dirty="0">
                <a:solidFill>
                  <a:schemeClr val="accent1"/>
                </a:solidFill>
                <a:effectLst/>
                <a:latin typeface="+mn-lt"/>
                <a:ea typeface="+mn-ea"/>
                <a:cs typeface="+mn-cs"/>
              </a:rPr>
              <a:t>A business of Marsh McLennan</a:t>
            </a:r>
            <a:endParaRPr lang="en-GB" sz="800" kern="1200" dirty="0">
              <a:solidFill>
                <a:schemeClr val="accent1"/>
              </a:solidFill>
              <a:effectLst/>
              <a:latin typeface="+mn-lt"/>
              <a:ea typeface="+mn-ea"/>
              <a:cs typeface="+mn-cs"/>
            </a:endParaRPr>
          </a:p>
        </p:txBody>
      </p:sp>
      <p:sp>
        <p:nvSpPr>
          <p:cNvPr id="2" name="Rectangle 1"/>
          <p:cNvSpPr/>
          <p:nvPr/>
        </p:nvSpPr>
        <p:spPr>
          <a:xfrm>
            <a:off x="252733" y="6422400"/>
            <a:ext cx="1755648" cy="3621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8" name="TextBox 7">
            <a:extLst>
              <a:ext uri="{FF2B5EF4-FFF2-40B4-BE49-F238E27FC236}">
                <a16:creationId xmlns:a16="http://schemas.microsoft.com/office/drawing/2014/main" id="{B6C59A82-A450-F1E2-2740-1D69BFD1A7BC}"/>
              </a:ext>
            </a:extLst>
          </p:cNvPr>
          <p:cNvSpPr txBox="1"/>
          <p:nvPr/>
        </p:nvSpPr>
        <p:spPr>
          <a:xfrm>
            <a:off x="502314" y="5083782"/>
            <a:ext cx="4280018" cy="215444"/>
          </a:xfrm>
          <a:prstGeom prst="rect">
            <a:avLst/>
          </a:prstGeom>
          <a:noFill/>
        </p:spPr>
        <p:txBody>
          <a:bodyPr wrap="none" lIns="0" tIns="0" rIns="0" bIns="0" rtlCol="0">
            <a:spAutoFit/>
          </a:bodyPr>
          <a:lstStyle/>
          <a:p>
            <a:pPr algn="l"/>
            <a:r>
              <a:rPr lang="en-US" sz="1400" i="1" dirty="0"/>
              <a:t>Philippines Case Study prepared in collaboration with:</a:t>
            </a:r>
          </a:p>
        </p:txBody>
      </p:sp>
      <p:pic>
        <p:nvPicPr>
          <p:cNvPr id="19" name="Picture 18" descr="A blue logo with text&#10;&#10;AI-generated content may be incorrect.">
            <a:extLst>
              <a:ext uri="{FF2B5EF4-FFF2-40B4-BE49-F238E27FC236}">
                <a16:creationId xmlns:a16="http://schemas.microsoft.com/office/drawing/2014/main" id="{78C8DBFB-B131-8422-39BF-66A8B440E25D}"/>
              </a:ext>
            </a:extLst>
          </p:cNvPr>
          <p:cNvPicPr>
            <a:picLocks noChangeAspect="1"/>
          </p:cNvPicPr>
          <p:nvPr/>
        </p:nvPicPr>
        <p:blipFill>
          <a:blip r:embed="rId6"/>
          <a:srcRect l="5421" t="31155" r="5826" b="31970"/>
          <a:stretch/>
        </p:blipFill>
        <p:spPr>
          <a:xfrm>
            <a:off x="475201" y="5522089"/>
            <a:ext cx="2040778" cy="548640"/>
          </a:xfrm>
          <a:prstGeom prst="rect">
            <a:avLst/>
          </a:prstGeom>
        </p:spPr>
      </p:pic>
      <p:sp>
        <p:nvSpPr>
          <p:cNvPr id="27" name="Rectangle 26">
            <a:extLst>
              <a:ext uri="{FF2B5EF4-FFF2-40B4-BE49-F238E27FC236}">
                <a16:creationId xmlns:a16="http://schemas.microsoft.com/office/drawing/2014/main" id="{7CF857B2-2304-5428-7868-294FF9F638B1}"/>
              </a:ext>
            </a:extLst>
          </p:cNvPr>
          <p:cNvSpPr/>
          <p:nvPr/>
        </p:nvSpPr>
        <p:spPr>
          <a:xfrm>
            <a:off x="8357528" y="1391974"/>
            <a:ext cx="3599863" cy="2808461"/>
          </a:xfrm>
          <a:prstGeom prst="rect">
            <a:avLst/>
          </a:prstGeom>
        </p:spPr>
        <p:txBody>
          <a:bodyPr wrap="square">
            <a:spAutoFit/>
          </a:bodyPr>
          <a:lstStyle/>
          <a:p>
            <a:pPr marL="0" lvl="1">
              <a:spcAft>
                <a:spcPts val="300"/>
              </a:spcAft>
            </a:pPr>
            <a:r>
              <a:rPr lang="en-US" sz="1600" b="1" kern="0" dirty="0">
                <a:solidFill>
                  <a:schemeClr val="bg1"/>
                </a:solidFill>
              </a:rPr>
              <a:t>Related Publications:</a:t>
            </a:r>
          </a:p>
          <a:p>
            <a:pPr marL="0" lvl="1">
              <a:spcAft>
                <a:spcPts val="300"/>
              </a:spcAft>
            </a:pPr>
            <a:endParaRPr lang="en-US" sz="1600" b="1" kern="0" dirty="0">
              <a:solidFill>
                <a:schemeClr val="bg1"/>
              </a:solidFill>
            </a:endParaRPr>
          </a:p>
          <a:p>
            <a:pPr marL="0" lvl="1">
              <a:spcAft>
                <a:spcPts val="300"/>
              </a:spcAft>
            </a:pPr>
            <a:r>
              <a:rPr lang="en-US" sz="1600" b="1" kern="0" dirty="0">
                <a:solidFill>
                  <a:schemeClr val="bg1"/>
                </a:solidFill>
              </a:rPr>
              <a:t>“Reduction in Insurance Premiums Attributable to Mangrove Systems</a:t>
            </a:r>
          </a:p>
          <a:p>
            <a:pPr marL="0" lvl="1">
              <a:spcAft>
                <a:spcPts val="300"/>
              </a:spcAft>
            </a:pPr>
            <a:r>
              <a:rPr lang="en-US" sz="1600" b="1" kern="0" dirty="0">
                <a:solidFill>
                  <a:schemeClr val="bg1"/>
                </a:solidFill>
              </a:rPr>
              <a:t>in the Philippines.” Lemke-Verderame et. al., in preparation.</a:t>
            </a:r>
          </a:p>
          <a:p>
            <a:pPr marL="0" lvl="1">
              <a:spcAft>
                <a:spcPts val="300"/>
              </a:spcAft>
            </a:pPr>
            <a:endParaRPr lang="en-US" sz="1600" b="1" kern="0" dirty="0">
              <a:solidFill>
                <a:schemeClr val="bg1"/>
              </a:solidFill>
            </a:endParaRPr>
          </a:p>
          <a:p>
            <a:pPr marL="0" lvl="1">
              <a:spcAft>
                <a:spcPts val="300"/>
              </a:spcAft>
            </a:pPr>
            <a:r>
              <a:rPr lang="en-US" sz="1600" b="1" kern="0" dirty="0">
                <a:solidFill>
                  <a:schemeClr val="bg1"/>
                </a:solidFill>
              </a:rPr>
              <a:t>Triggering Change: Parametric Solutions for Climate Resilience </a:t>
            </a:r>
            <a:r>
              <a:rPr lang="en-US" sz="1000" b="1" kern="0" dirty="0">
                <a:solidFill>
                  <a:schemeClr val="bg1"/>
                </a:solidFill>
              </a:rPr>
              <a:t>(</a:t>
            </a:r>
            <a:r>
              <a:rPr lang="en-US" sz="1000" b="1" kern="0" dirty="0">
                <a:solidFill>
                  <a:schemeClr val="bg1"/>
                </a:solidFill>
                <a:hlinkClick r:id="rId7">
                  <a:extLst>
                    <a:ext uri="{A12FA001-AC4F-418D-AE19-62706E023703}">
                      <ahyp:hlinkClr xmlns:ahyp="http://schemas.microsoft.com/office/drawing/2018/hyperlinkcolor" val="tx"/>
                    </a:ext>
                  </a:extLst>
                </a:hlinkClick>
              </a:rPr>
              <a:t>https://www.marshmclennan.com/insights/publications/2023/april/triggering-change-parametric-solutions.html</a:t>
            </a:r>
            <a:r>
              <a:rPr lang="en-US" sz="1000" b="1" kern="0" dirty="0">
                <a:solidFill>
                  <a:schemeClr val="bg1"/>
                </a:solidFill>
              </a:rPr>
              <a:t>)</a:t>
            </a:r>
          </a:p>
        </p:txBody>
      </p:sp>
      <p:pic>
        <p:nvPicPr>
          <p:cNvPr id="3" name="Picture 2">
            <a:extLst>
              <a:ext uri="{FF2B5EF4-FFF2-40B4-BE49-F238E27FC236}">
                <a16:creationId xmlns:a16="http://schemas.microsoft.com/office/drawing/2014/main" id="{EA219105-FE89-5094-4FDE-4FFD9A62531E}"/>
              </a:ext>
            </a:extLst>
          </p:cNvPr>
          <p:cNvPicPr>
            <a:picLocks noChangeAspect="1"/>
          </p:cNvPicPr>
          <p:nvPr/>
        </p:nvPicPr>
        <p:blipFill>
          <a:blip r:embed="rId8"/>
          <a:stretch>
            <a:fillRect/>
          </a:stretch>
        </p:blipFill>
        <p:spPr>
          <a:xfrm>
            <a:off x="5752567" y="5586475"/>
            <a:ext cx="1952206" cy="484254"/>
          </a:xfrm>
          <a:prstGeom prst="rect">
            <a:avLst/>
          </a:prstGeom>
        </p:spPr>
      </p:pic>
      <p:pic>
        <p:nvPicPr>
          <p:cNvPr id="5" name="Picture 4">
            <a:extLst>
              <a:ext uri="{FF2B5EF4-FFF2-40B4-BE49-F238E27FC236}">
                <a16:creationId xmlns:a16="http://schemas.microsoft.com/office/drawing/2014/main" id="{45BC9E34-38F0-2556-F666-3747D853AEF3}"/>
              </a:ext>
            </a:extLst>
          </p:cNvPr>
          <p:cNvPicPr>
            <a:picLocks noChangeAspect="1"/>
          </p:cNvPicPr>
          <p:nvPr/>
        </p:nvPicPr>
        <p:blipFill>
          <a:blip r:embed="rId9"/>
          <a:stretch>
            <a:fillRect/>
          </a:stretch>
        </p:blipFill>
        <p:spPr>
          <a:xfrm>
            <a:off x="3992362" y="5522089"/>
            <a:ext cx="1517358" cy="548640"/>
          </a:xfrm>
          <a:prstGeom prst="rect">
            <a:avLst/>
          </a:prstGeom>
        </p:spPr>
      </p:pic>
    </p:spTree>
    <p:extLst>
      <p:ext uri="{BB962C8B-B14F-4D97-AF65-F5344CB8AC3E}">
        <p14:creationId xmlns:p14="http://schemas.microsoft.com/office/powerpoint/2010/main" val="41858449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792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pPr marL="0" indent="0" algn="ctr">
              <a:lnSpc>
                <a:spcPct val="86000"/>
              </a:lnSpc>
              <a:buNone/>
            </a:pPr>
            <a:endParaRPr lang="en-US" sz="1000" b="1" dirty="0"/>
          </a:p>
          <a:p>
            <a:pPr marL="0" indent="0">
              <a:lnSpc>
                <a:spcPct val="86000"/>
              </a:lnSpc>
              <a:buNone/>
            </a:pPr>
            <a:r>
              <a:rPr lang="en-US" sz="1000" b="1" dirty="0"/>
              <a:t>Important Disclosure</a:t>
            </a:r>
            <a:endParaRPr lang="en-US" sz="1000" dirty="0"/>
          </a:p>
          <a:p>
            <a:pPr marL="0" indent="0">
              <a:lnSpc>
                <a:spcPct val="86000"/>
              </a:lnSpc>
              <a:buNone/>
            </a:pPr>
            <a:r>
              <a:rPr lang="en-US" sz="1000" dirty="0"/>
              <a:t>Guy Carpenter &amp; Company, LLC provides this report for general information only. The information and data contained herein is based on sources we believe reliable, but we do not guarantee its accuracy, and it should be understood to be general insurance/reinsurance information only. Guy Carpenter &amp; Company, LLC makes no representations or warranties, express or implied. The information is not intended to be taken as advice with respect to any individual situation and cannot be relied upon as such. Please consult your insurance/reinsurance advisors with respect to individual coverage issues. </a:t>
            </a:r>
          </a:p>
          <a:p>
            <a:pPr marL="0" indent="0">
              <a:lnSpc>
                <a:spcPct val="86000"/>
              </a:lnSpc>
              <a:buNone/>
            </a:pPr>
            <a:r>
              <a:rPr lang="en-US" sz="1000" dirty="0"/>
              <a:t>Readers are cautioned not to place undue reliance on any calculation or forward-looking statements. Guy Carpenter &amp; Company, LLC undertakes no obligation to update or revise publicly any data, or current or forward-looking statements, whether as a result of new information, research, future events or otherwise. </a:t>
            </a:r>
          </a:p>
          <a:p>
            <a:pPr marL="0" indent="0">
              <a:lnSpc>
                <a:spcPct val="86000"/>
              </a:lnSpc>
              <a:buNone/>
            </a:pPr>
            <a:r>
              <a:rPr lang="en-US" sz="1000" dirty="0"/>
              <a:t>Statements concerning tax, accounting, regulatory or legal matters should be understood to be general observations based solely on our experience as reinsurance brokers and risk consultants and may not be relied upon as tax, accounting, regulatory or legal advice, which we are not authorized to provide. All such matters should be reviewed with your own qualified advisors in these areas.</a:t>
            </a:r>
          </a:p>
          <a:p>
            <a:pPr marL="0" indent="0">
              <a:lnSpc>
                <a:spcPct val="86000"/>
              </a:lnSpc>
              <a:buNone/>
            </a:pPr>
            <a:r>
              <a:rPr lang="en-US" sz="1000" dirty="0"/>
              <a:t>This document or any portion of the information it contains may not be copied or reproduced in any form without the permission of Guy Carpenter &amp; Company, LLC, except that clients of Guy Carpenter &amp; Company, LLC need not obtain such permission when using this report for their internal purposes.</a:t>
            </a:r>
          </a:p>
          <a:p>
            <a:pPr marL="0" indent="0">
              <a:lnSpc>
                <a:spcPct val="86000"/>
              </a:lnSpc>
              <a:spcAft>
                <a:spcPts val="0"/>
              </a:spcAft>
              <a:buNone/>
            </a:pPr>
            <a:r>
              <a:rPr lang="en-US" sz="1000" dirty="0"/>
              <a:t>The trademarks and service marks contained herein are the property of their respective owners. </a:t>
            </a:r>
          </a:p>
          <a:p>
            <a:pPr marL="0" indent="0">
              <a:lnSpc>
                <a:spcPct val="86000"/>
              </a:lnSpc>
              <a:spcAft>
                <a:spcPts val="0"/>
              </a:spcAft>
              <a:buNone/>
            </a:pPr>
            <a:r>
              <a:rPr lang="en-US" sz="1000" dirty="0"/>
              <a:t>© 2025 Guy Carpenter &amp; Company, LLC</a:t>
            </a:r>
          </a:p>
          <a:p>
            <a:pPr marL="0" indent="0">
              <a:lnSpc>
                <a:spcPct val="86000"/>
              </a:lnSpc>
              <a:buNone/>
            </a:pPr>
            <a:r>
              <a:rPr lang="en-US" sz="1000" dirty="0"/>
              <a:t>All Rights Reserved</a:t>
            </a:r>
          </a:p>
          <a:p>
            <a:pPr marL="0" indent="0">
              <a:buNone/>
            </a:pPr>
            <a:endParaRPr lang="en-US" dirty="0"/>
          </a:p>
        </p:txBody>
      </p:sp>
    </p:spTree>
    <p:extLst>
      <p:ext uri="{BB962C8B-B14F-4D97-AF65-F5344CB8AC3E}">
        <p14:creationId xmlns:p14="http://schemas.microsoft.com/office/powerpoint/2010/main" val="2276422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D2D8A53-1827-C068-BE17-E0B3B89315BC}"/>
              </a:ext>
            </a:extLst>
          </p:cNvPr>
          <p:cNvSpPr>
            <a:spLocks noGrp="1"/>
          </p:cNvSpPr>
          <p:nvPr>
            <p:ph type="sldNum" sz="quarter" idx="10"/>
          </p:nvPr>
        </p:nvSpPr>
        <p:spPr/>
        <p:txBody>
          <a:bodyPr/>
          <a:lstStyle/>
          <a:p>
            <a:pPr algn="r"/>
            <a:fld id="{DF66040D-6F20-4F4B-8995-856BEECD84BE}" type="slidenum">
              <a:rPr lang="en-US" smtClean="0"/>
              <a:pPr algn="r"/>
              <a:t>2</a:t>
            </a:fld>
            <a:endParaRPr lang="en-US" dirty="0"/>
          </a:p>
        </p:txBody>
      </p:sp>
      <p:pic>
        <p:nvPicPr>
          <p:cNvPr id="1026" name="Picture 2" descr="Map of United States with icons showing location and type of billion-dollar disasters in 2024">
            <a:extLst>
              <a:ext uri="{FF2B5EF4-FFF2-40B4-BE49-F238E27FC236}">
                <a16:creationId xmlns:a16="http://schemas.microsoft.com/office/drawing/2014/main" id="{4CCEE4E2-7547-D3F9-72BC-038AC4ABBB64}"/>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34129" y="286783"/>
            <a:ext cx="10495141" cy="5696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038479D-B4E0-74CB-B3B2-738B30478162}"/>
              </a:ext>
            </a:extLst>
          </p:cNvPr>
          <p:cNvSpPr txBox="1"/>
          <p:nvPr/>
        </p:nvSpPr>
        <p:spPr>
          <a:xfrm>
            <a:off x="5837952" y="6516000"/>
            <a:ext cx="5592048" cy="123111"/>
          </a:xfrm>
          <a:prstGeom prst="rect">
            <a:avLst/>
          </a:prstGeom>
          <a:noFill/>
        </p:spPr>
        <p:txBody>
          <a:bodyPr wrap="square" lIns="0" tIns="0" rIns="0" bIns="0" rtlCol="0">
            <a:spAutoFit/>
          </a:bodyPr>
          <a:lstStyle/>
          <a:p>
            <a:pPr algn="r"/>
            <a:r>
              <a:rPr lang="en-US" sz="800" i="1" dirty="0">
                <a:hlinkClick r:id="rId4">
                  <a:extLst>
                    <a:ext uri="{A12FA001-AC4F-418D-AE19-62706E023703}">
                      <ahyp:hlinkClr xmlns:ahyp="http://schemas.microsoft.com/office/drawing/2018/hyperlinkcolor" val="tx"/>
                    </a:ext>
                  </a:extLst>
                </a:hlinkClick>
              </a:rPr>
              <a:t>https://www.climate.gov/news-features/blogs/beyond-data/2024-active-year-us-billion-dollar-weather-and-climate-disasters</a:t>
            </a:r>
            <a:r>
              <a:rPr lang="en-US" sz="800" i="1" dirty="0"/>
              <a:t> </a:t>
            </a:r>
          </a:p>
        </p:txBody>
      </p:sp>
      <p:sp>
        <p:nvSpPr>
          <p:cNvPr id="2" name="TextBox 1">
            <a:extLst>
              <a:ext uri="{FF2B5EF4-FFF2-40B4-BE49-F238E27FC236}">
                <a16:creationId xmlns:a16="http://schemas.microsoft.com/office/drawing/2014/main" id="{7A552D77-FE54-772B-2B8D-70F319A8A87B}"/>
              </a:ext>
            </a:extLst>
          </p:cNvPr>
          <p:cNvSpPr txBox="1"/>
          <p:nvPr/>
        </p:nvSpPr>
        <p:spPr>
          <a:xfrm>
            <a:off x="0" y="6087467"/>
            <a:ext cx="12192000" cy="276999"/>
          </a:xfrm>
          <a:prstGeom prst="rect">
            <a:avLst/>
          </a:prstGeom>
          <a:noFill/>
        </p:spPr>
        <p:txBody>
          <a:bodyPr wrap="square" lIns="0" tIns="0" rIns="0" bIns="0" rtlCol="0">
            <a:spAutoFit/>
          </a:bodyPr>
          <a:lstStyle/>
          <a:p>
            <a:pPr algn="ctr"/>
            <a:r>
              <a:rPr lang="en-US" b="1" i="1" dirty="0">
                <a:solidFill>
                  <a:schemeClr val="accent1"/>
                </a:solidFill>
              </a:rPr>
              <a:t>As these events continue, we need to think about how to control risk</a:t>
            </a:r>
          </a:p>
        </p:txBody>
      </p:sp>
    </p:spTree>
    <p:extLst>
      <p:ext uri="{BB962C8B-B14F-4D97-AF65-F5344CB8AC3E}">
        <p14:creationId xmlns:p14="http://schemas.microsoft.com/office/powerpoint/2010/main" val="1176911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965C4-BC0E-7E63-E285-0DA6942A19D5}"/>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B9A6510E-31D2-DDDA-417B-C4872E48AFE7}"/>
              </a:ext>
            </a:extLst>
          </p:cNvPr>
          <p:cNvSpPr>
            <a:spLocks noGrp="1"/>
          </p:cNvSpPr>
          <p:nvPr>
            <p:ph type="title"/>
          </p:nvPr>
        </p:nvSpPr>
        <p:spPr>
          <a:xfrm>
            <a:off x="487787" y="355601"/>
            <a:ext cx="7177933" cy="495299"/>
          </a:xfrm>
        </p:spPr>
        <p:txBody>
          <a:bodyPr/>
          <a:lstStyle/>
          <a:p>
            <a:r>
              <a:rPr lang="en-US" dirty="0"/>
              <a:t>Controlling Risk: Physical Control</a:t>
            </a:r>
            <a:br>
              <a:rPr lang="en-US" dirty="0"/>
            </a:br>
            <a:endParaRPr lang="en-US" dirty="0"/>
          </a:p>
        </p:txBody>
      </p:sp>
      <p:sp>
        <p:nvSpPr>
          <p:cNvPr id="5" name="Footer Placeholder 4">
            <a:extLst>
              <a:ext uri="{FF2B5EF4-FFF2-40B4-BE49-F238E27FC236}">
                <a16:creationId xmlns:a16="http://schemas.microsoft.com/office/drawing/2014/main" id="{B6356257-4F99-3114-A524-A1E93D6B13CF}"/>
              </a:ext>
            </a:extLst>
          </p:cNvPr>
          <p:cNvSpPr>
            <a:spLocks noGrp="1"/>
          </p:cNvSpPr>
          <p:nvPr>
            <p:ph type="ftr" sz="quarter" idx="11"/>
          </p:nvPr>
        </p:nvSpPr>
        <p:spPr>
          <a:xfrm>
            <a:off x="3908054" y="6390000"/>
            <a:ext cx="3757686" cy="248400"/>
          </a:xfrm>
        </p:spPr>
        <p:txBody>
          <a:bodyPr/>
          <a:lstStyle/>
          <a:p>
            <a:endParaRPr lang="en-US" dirty="0"/>
          </a:p>
        </p:txBody>
      </p:sp>
      <p:grpSp>
        <p:nvGrpSpPr>
          <p:cNvPr id="6" name="Group 5">
            <a:extLst>
              <a:ext uri="{FF2B5EF4-FFF2-40B4-BE49-F238E27FC236}">
                <a16:creationId xmlns:a16="http://schemas.microsoft.com/office/drawing/2014/main" id="{90E08A8E-16E6-CF6C-DA63-31D9873683AA}"/>
              </a:ext>
            </a:extLst>
          </p:cNvPr>
          <p:cNvGrpSpPr/>
          <p:nvPr/>
        </p:nvGrpSpPr>
        <p:grpSpPr>
          <a:xfrm>
            <a:off x="8122920" y="0"/>
            <a:ext cx="4069080" cy="6858000"/>
            <a:chOff x="6211018" y="0"/>
            <a:chExt cx="4069080" cy="6858000"/>
          </a:xfrm>
        </p:grpSpPr>
        <p:sp>
          <p:nvSpPr>
            <p:cNvPr id="2" name="Rectangle 1">
              <a:extLst>
                <a:ext uri="{FF2B5EF4-FFF2-40B4-BE49-F238E27FC236}">
                  <a16:creationId xmlns:a16="http://schemas.microsoft.com/office/drawing/2014/main" id="{658C45E8-5D3F-D252-559D-CCA5307D93CA}"/>
                </a:ext>
              </a:extLst>
            </p:cNvPr>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3" name="Isosceles Triangle 2">
              <a:extLst>
                <a:ext uri="{FF2B5EF4-FFF2-40B4-BE49-F238E27FC236}">
                  <a16:creationId xmlns:a16="http://schemas.microsoft.com/office/drawing/2014/main" id="{8FA425E3-79F4-6C69-56A7-6754D52152BE}"/>
                </a:ext>
              </a:extLst>
            </p:cNvPr>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4" name="Slide Number Placeholder 3">
            <a:extLst>
              <a:ext uri="{FF2B5EF4-FFF2-40B4-BE49-F238E27FC236}">
                <a16:creationId xmlns:a16="http://schemas.microsoft.com/office/drawing/2014/main" id="{B7A85EA9-C55D-A4F6-04DF-D52D22BC4366}"/>
              </a:ext>
            </a:extLst>
          </p:cNvPr>
          <p:cNvSpPr>
            <a:spLocks noGrp="1"/>
          </p:cNvSpPr>
          <p:nvPr>
            <p:ph type="sldNum" sz="quarter" idx="10"/>
          </p:nvPr>
        </p:nvSpPr>
        <p:spPr/>
        <p:txBody>
          <a:bodyPr/>
          <a:lstStyle/>
          <a:p>
            <a:fld id="{DF66040D-6F20-4F4B-8995-856BEECD84BE}" type="slidenum">
              <a:rPr lang="en-US" smtClean="0"/>
              <a:pPr/>
              <a:t>3</a:t>
            </a:fld>
            <a:endParaRPr lang="en-US" dirty="0"/>
          </a:p>
        </p:txBody>
      </p:sp>
      <p:sp>
        <p:nvSpPr>
          <p:cNvPr id="13" name="TextBox 12">
            <a:extLst>
              <a:ext uri="{FF2B5EF4-FFF2-40B4-BE49-F238E27FC236}">
                <a16:creationId xmlns:a16="http://schemas.microsoft.com/office/drawing/2014/main" id="{03A7EA4F-5E21-DE30-998E-A89EFB5C6ECF}"/>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3</a:t>
            </a:fld>
            <a:endParaRPr kumimoji="0" lang="en-US" sz="800" b="0" i="0" u="none" strike="noStrike" kern="0" cap="none" spc="0" normalizeH="0" baseline="0" noProof="0" dirty="0">
              <a:ln>
                <a:noFill/>
              </a:ln>
              <a:solidFill>
                <a:srgbClr val="FFFFFF"/>
              </a:solidFill>
              <a:effectLst/>
              <a:uLnTx/>
              <a:uFillTx/>
            </a:endParaRPr>
          </a:p>
        </p:txBody>
      </p:sp>
      <p:sp>
        <p:nvSpPr>
          <p:cNvPr id="15" name="Rectangle 14">
            <a:extLst>
              <a:ext uri="{FF2B5EF4-FFF2-40B4-BE49-F238E27FC236}">
                <a16:creationId xmlns:a16="http://schemas.microsoft.com/office/drawing/2014/main" id="{06EA329D-3FB4-4F8A-D54F-D1E5368800A7}"/>
              </a:ext>
            </a:extLst>
          </p:cNvPr>
          <p:cNvSpPr/>
          <p:nvPr/>
        </p:nvSpPr>
        <p:spPr>
          <a:xfrm>
            <a:off x="8350840" y="1521561"/>
            <a:ext cx="3613239" cy="2939266"/>
          </a:xfrm>
          <a:prstGeom prst="rect">
            <a:avLst/>
          </a:prstGeom>
        </p:spPr>
        <p:txBody>
          <a:bodyPr wrap="square">
            <a:spAutoFit/>
          </a:bodyPr>
          <a:lstStyle/>
          <a:p>
            <a:pPr marL="0" lvl="1">
              <a:spcAft>
                <a:spcPts val="300"/>
              </a:spcAft>
            </a:pPr>
            <a:r>
              <a:rPr lang="en-US" sz="2000" b="1" kern="0" dirty="0">
                <a:solidFill>
                  <a:schemeClr val="bg1"/>
                </a:solidFill>
              </a:rPr>
              <a:t>There is a strong interest in investing in nature-based solutions</a:t>
            </a:r>
          </a:p>
          <a:p>
            <a:pPr marL="0" lvl="1">
              <a:spcAft>
                <a:spcPts val="300"/>
              </a:spcAft>
            </a:pPr>
            <a:endParaRPr lang="en-US" sz="2000" b="1" kern="0" dirty="0">
              <a:solidFill>
                <a:schemeClr val="bg1"/>
              </a:solidFill>
            </a:endParaRPr>
          </a:p>
          <a:p>
            <a:pPr marL="0" lvl="1">
              <a:spcAft>
                <a:spcPts val="300"/>
              </a:spcAft>
            </a:pPr>
            <a:r>
              <a:rPr lang="en-US" sz="2000" b="1" kern="0" dirty="0">
                <a:solidFill>
                  <a:schemeClr val="bg1"/>
                </a:solidFill>
              </a:rPr>
              <a:t>This involves conservation of existing ecosystems that perform valuable services and implementation of new ones </a:t>
            </a:r>
          </a:p>
        </p:txBody>
      </p:sp>
      <p:graphicFrame>
        <p:nvGraphicFramePr>
          <p:cNvPr id="7" name="Diagram 6">
            <a:extLst>
              <a:ext uri="{FF2B5EF4-FFF2-40B4-BE49-F238E27FC236}">
                <a16:creationId xmlns:a16="http://schemas.microsoft.com/office/drawing/2014/main" id="{F27BB187-C41E-54EA-EF69-C8EEDB499C58}"/>
              </a:ext>
            </a:extLst>
          </p:cNvPr>
          <p:cNvGraphicFramePr/>
          <p:nvPr>
            <p:extLst>
              <p:ext uri="{D42A27DB-BD31-4B8C-83A1-F6EECF244321}">
                <p14:modId xmlns:p14="http://schemas.microsoft.com/office/powerpoint/2010/main" val="1247771369"/>
              </p:ext>
            </p:extLst>
          </p:nvPr>
        </p:nvGraphicFramePr>
        <p:xfrm>
          <a:off x="487787" y="1152728"/>
          <a:ext cx="7177954" cy="45525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85C45B5E-21DB-FB76-53B6-46BEBC3B33B2}"/>
              </a:ext>
            </a:extLst>
          </p:cNvPr>
          <p:cNvSpPr txBox="1"/>
          <p:nvPr/>
        </p:nvSpPr>
        <p:spPr>
          <a:xfrm>
            <a:off x="4396079" y="5424179"/>
            <a:ext cx="3643499" cy="646331"/>
          </a:xfrm>
          <a:prstGeom prst="rect">
            <a:avLst/>
          </a:prstGeom>
          <a:noFill/>
        </p:spPr>
        <p:txBody>
          <a:bodyPr wrap="square">
            <a:spAutoFit/>
          </a:bodyPr>
          <a:lstStyle>
            <a:defPPr>
              <a:defRPr lang="en-GB"/>
            </a:defPPr>
            <a:lvl1pPr>
              <a:defRPr sz="1200" i="1"/>
            </a:lvl1pPr>
          </a:lstStyle>
          <a:p>
            <a:r>
              <a:rPr lang="en-US" b="1" dirty="0"/>
              <a:t>“Without mangroves, 39% more people globally would be flooded each year and flood damages would increase by more than 16%”</a:t>
            </a:r>
          </a:p>
        </p:txBody>
      </p:sp>
      <p:sp>
        <p:nvSpPr>
          <p:cNvPr id="10" name="TextBox 9">
            <a:extLst>
              <a:ext uri="{FF2B5EF4-FFF2-40B4-BE49-F238E27FC236}">
                <a16:creationId xmlns:a16="http://schemas.microsoft.com/office/drawing/2014/main" id="{1A146B97-9981-B5F4-0D56-D17B7D91000B}"/>
              </a:ext>
            </a:extLst>
          </p:cNvPr>
          <p:cNvSpPr txBox="1"/>
          <p:nvPr/>
        </p:nvSpPr>
        <p:spPr>
          <a:xfrm>
            <a:off x="113950" y="1521561"/>
            <a:ext cx="3329641" cy="830997"/>
          </a:xfrm>
          <a:prstGeom prst="rect">
            <a:avLst/>
          </a:prstGeom>
          <a:noFill/>
        </p:spPr>
        <p:txBody>
          <a:bodyPr wrap="square">
            <a:spAutoFit/>
          </a:bodyPr>
          <a:lstStyle>
            <a:defPPr>
              <a:defRPr lang="en-GB"/>
            </a:defPPr>
            <a:lvl1pPr>
              <a:defRPr sz="1200" i="1"/>
            </a:lvl1pPr>
          </a:lstStyle>
          <a:p>
            <a:r>
              <a:rPr lang="en-US" b="1" dirty="0"/>
              <a:t>“Properties [in Ocean County, NJ] behind a marsh, on average, save 16% in flood losses every year compared to properties where marshes have been lost.”</a:t>
            </a:r>
          </a:p>
        </p:txBody>
      </p:sp>
      <p:sp>
        <p:nvSpPr>
          <p:cNvPr id="14" name="TextBox 13">
            <a:extLst>
              <a:ext uri="{FF2B5EF4-FFF2-40B4-BE49-F238E27FC236}">
                <a16:creationId xmlns:a16="http://schemas.microsoft.com/office/drawing/2014/main" id="{ED53619E-F007-6DDF-621E-C12207441CF5}"/>
              </a:ext>
            </a:extLst>
          </p:cNvPr>
          <p:cNvSpPr txBox="1"/>
          <p:nvPr/>
        </p:nvSpPr>
        <p:spPr>
          <a:xfrm>
            <a:off x="113950" y="2339035"/>
            <a:ext cx="1948313" cy="738664"/>
          </a:xfrm>
          <a:prstGeom prst="rect">
            <a:avLst/>
          </a:prstGeom>
          <a:noFill/>
        </p:spPr>
        <p:txBody>
          <a:bodyPr wrap="square">
            <a:spAutoFit/>
          </a:bodyPr>
          <a:lstStyle/>
          <a:p>
            <a:pPr algn="l"/>
            <a:r>
              <a:rPr lang="en-US" sz="1050" i="1" dirty="0"/>
              <a:t>Narayan et al (2017) “The Value of Coastal Wetlands for Flood Damage Reduction in the Northeastern USA”</a:t>
            </a:r>
          </a:p>
        </p:txBody>
      </p:sp>
      <p:sp>
        <p:nvSpPr>
          <p:cNvPr id="17" name="TextBox 16">
            <a:extLst>
              <a:ext uri="{FF2B5EF4-FFF2-40B4-BE49-F238E27FC236}">
                <a16:creationId xmlns:a16="http://schemas.microsoft.com/office/drawing/2014/main" id="{1B68C98A-BD88-0755-9BE9-AC7AAA0AC606}"/>
              </a:ext>
            </a:extLst>
          </p:cNvPr>
          <p:cNvSpPr txBox="1"/>
          <p:nvPr/>
        </p:nvSpPr>
        <p:spPr>
          <a:xfrm>
            <a:off x="4396080" y="5984033"/>
            <a:ext cx="3399839" cy="246221"/>
          </a:xfrm>
          <a:prstGeom prst="rect">
            <a:avLst/>
          </a:prstGeom>
          <a:noFill/>
        </p:spPr>
        <p:txBody>
          <a:bodyPr wrap="square">
            <a:spAutoFit/>
          </a:bodyPr>
          <a:lstStyle/>
          <a:p>
            <a:pPr algn="l"/>
            <a:r>
              <a:rPr lang="en-US" sz="1000" i="1" dirty="0"/>
              <a:t>Losada et al (2018) “Global Value of Mangroves”</a:t>
            </a:r>
          </a:p>
        </p:txBody>
      </p:sp>
    </p:spTree>
    <p:custDataLst>
      <p:custData r:id="rId1"/>
    </p:custDataLst>
    <p:extLst>
      <p:ext uri="{BB962C8B-B14F-4D97-AF65-F5344CB8AC3E}">
        <p14:creationId xmlns:p14="http://schemas.microsoft.com/office/powerpoint/2010/main" val="77891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87787" y="355601"/>
            <a:ext cx="7177933" cy="495299"/>
          </a:xfrm>
        </p:spPr>
        <p:txBody>
          <a:bodyPr/>
          <a:lstStyle/>
          <a:p>
            <a:r>
              <a:rPr lang="en-US" dirty="0"/>
              <a:t>Controlling Risk: Financial Control</a:t>
            </a:r>
            <a:br>
              <a:rPr lang="en-US" dirty="0"/>
            </a:br>
            <a:endParaRPr lang="en-US" dirty="0"/>
          </a:p>
        </p:txBody>
      </p:sp>
      <p:sp>
        <p:nvSpPr>
          <p:cNvPr id="5" name="Footer Placeholder 4"/>
          <p:cNvSpPr>
            <a:spLocks noGrp="1"/>
          </p:cNvSpPr>
          <p:nvPr>
            <p:ph type="ftr" sz="quarter" idx="11"/>
          </p:nvPr>
        </p:nvSpPr>
        <p:spPr>
          <a:xfrm>
            <a:off x="3908054" y="6390000"/>
            <a:ext cx="3757686" cy="248400"/>
          </a:xfrm>
        </p:spPr>
        <p:txBody>
          <a:bodyPr/>
          <a:lstStyle/>
          <a:p>
            <a:endParaRPr lang="en-US" dirty="0"/>
          </a:p>
        </p:txBody>
      </p:sp>
      <p:sp>
        <p:nvSpPr>
          <p:cNvPr id="3" name="Isosceles Triangle 2"/>
          <p:cNvSpPr/>
          <p:nvPr/>
        </p:nvSpPr>
        <p:spPr>
          <a:xfrm rot="5400000">
            <a:off x="8068249"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4" name="Slide Number Placeholder 3"/>
          <p:cNvSpPr>
            <a:spLocks noGrp="1"/>
          </p:cNvSpPr>
          <p:nvPr>
            <p:ph type="sldNum" sz="quarter" idx="10"/>
          </p:nvPr>
        </p:nvSpPr>
        <p:spPr/>
        <p:txBody>
          <a:bodyPr/>
          <a:lstStyle/>
          <a:p>
            <a:fld id="{DF66040D-6F20-4F4B-8995-856BEECD84BE}" type="slidenum">
              <a:rPr lang="en-US" smtClean="0"/>
              <a:pPr/>
              <a:t>4</a:t>
            </a:fld>
            <a:endParaRPr lang="en-US" dirty="0"/>
          </a:p>
        </p:txBody>
      </p:sp>
      <p:sp>
        <p:nvSpPr>
          <p:cNvPr id="13" name="TextBox 12">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en-US" sz="800" b="0" i="0" u="none" strike="noStrike" kern="0" cap="none" spc="0" normalizeH="0" baseline="0" noProof="0" dirty="0">
              <a:ln>
                <a:noFill/>
              </a:ln>
              <a:effectLst/>
              <a:uLnTx/>
              <a:uFillTx/>
            </a:endParaRPr>
          </a:p>
        </p:txBody>
      </p:sp>
      <p:sp>
        <p:nvSpPr>
          <p:cNvPr id="12" name="TextBox 11"/>
          <p:cNvSpPr txBox="1"/>
          <p:nvPr/>
        </p:nvSpPr>
        <p:spPr>
          <a:xfrm>
            <a:off x="502348" y="2214199"/>
            <a:ext cx="5947089" cy="3323987"/>
          </a:xfrm>
          <a:prstGeom prst="rect">
            <a:avLst/>
          </a:prstGeom>
          <a:noFill/>
        </p:spPr>
        <p:txBody>
          <a:bodyPr wrap="square" lIns="0" tIns="0" rIns="0" bIns="0" rtlCol="0">
            <a:spAutoFit/>
          </a:bodyPr>
          <a:lstStyle/>
          <a:p>
            <a:pPr marL="285750" indent="-285750">
              <a:buFont typeface="Wingdings" panose="05000000000000000000" pitchFamily="2" charset="2"/>
              <a:buChar char="§"/>
            </a:pPr>
            <a:r>
              <a:rPr lang="en-US" dirty="0"/>
              <a:t>Payouts are </a:t>
            </a:r>
            <a:r>
              <a:rPr lang="en-US" b="1" dirty="0"/>
              <a:t>FAST</a:t>
            </a:r>
            <a:r>
              <a:rPr lang="en-US" dirty="0"/>
              <a:t> because parametric insurance does not require a loss adjustment process and the parameters needed are often available in real time</a:t>
            </a:r>
            <a:endParaRPr lang="en-US" b="1" dirty="0"/>
          </a:p>
          <a:p>
            <a:endParaRPr lang="en-US" b="1" dirty="0"/>
          </a:p>
          <a:p>
            <a:pPr marL="285750" indent="-285750">
              <a:buFont typeface="Wingdings" panose="05000000000000000000" pitchFamily="2" charset="2"/>
              <a:buChar char="§"/>
            </a:pPr>
            <a:r>
              <a:rPr lang="en-US" dirty="0"/>
              <a:t>Payouts are </a:t>
            </a:r>
            <a:r>
              <a:rPr lang="en-US" b="1" dirty="0"/>
              <a:t>TRANSPARENT</a:t>
            </a:r>
            <a:r>
              <a:rPr lang="en-US" dirty="0"/>
              <a:t> because they are based on objective measurements provided by a respected third party (like NOAA, NASA or the USGS)</a:t>
            </a:r>
          </a:p>
          <a:p>
            <a:endParaRPr lang="en-US" dirty="0"/>
          </a:p>
          <a:p>
            <a:pPr marL="285750" indent="-285750">
              <a:buFont typeface="Wingdings" panose="05000000000000000000" pitchFamily="2" charset="2"/>
              <a:buChar char="§"/>
            </a:pPr>
            <a:r>
              <a:rPr lang="en-US" dirty="0"/>
              <a:t>Payouts are </a:t>
            </a:r>
            <a:r>
              <a:rPr lang="en-US" b="1" dirty="0"/>
              <a:t>VERSATILE</a:t>
            </a:r>
            <a:r>
              <a:rPr lang="en-US" dirty="0"/>
              <a:t>, not tied to any specific piece of property and can be used as required to support emergency operations, purchases, repairs, financial impacts, business interruption, etc.</a:t>
            </a:r>
          </a:p>
        </p:txBody>
      </p:sp>
      <p:pic>
        <p:nvPicPr>
          <p:cNvPr id="36" name="Picture 35">
            <a:extLst>
              <a:ext uri="{FF2B5EF4-FFF2-40B4-BE49-F238E27FC236}">
                <a16:creationId xmlns:a16="http://schemas.microsoft.com/office/drawing/2014/main" id="{F8912CD1-9354-065E-9487-D4CB9E534B84}"/>
              </a:ext>
            </a:extLst>
          </p:cNvPr>
          <p:cNvPicPr>
            <a:picLocks noChangeAspect="1"/>
          </p:cNvPicPr>
          <p:nvPr/>
        </p:nvPicPr>
        <p:blipFill>
          <a:blip r:embed="rId4"/>
          <a:stretch>
            <a:fillRect/>
          </a:stretch>
        </p:blipFill>
        <p:spPr>
          <a:xfrm>
            <a:off x="6981542" y="1893702"/>
            <a:ext cx="4234449" cy="4234449"/>
          </a:xfrm>
          <a:prstGeom prst="rect">
            <a:avLst/>
          </a:prstGeom>
        </p:spPr>
      </p:pic>
      <p:sp>
        <p:nvSpPr>
          <p:cNvPr id="38" name="TextBox 37">
            <a:extLst>
              <a:ext uri="{FF2B5EF4-FFF2-40B4-BE49-F238E27FC236}">
                <a16:creationId xmlns:a16="http://schemas.microsoft.com/office/drawing/2014/main" id="{A4007C71-3597-1FFF-558D-86CA1E14CB49}"/>
              </a:ext>
            </a:extLst>
          </p:cNvPr>
          <p:cNvSpPr txBox="1"/>
          <p:nvPr/>
        </p:nvSpPr>
        <p:spPr>
          <a:xfrm>
            <a:off x="485774" y="1018358"/>
            <a:ext cx="11225025" cy="707886"/>
          </a:xfrm>
          <a:prstGeom prst="rect">
            <a:avLst/>
          </a:prstGeom>
          <a:noFill/>
        </p:spPr>
        <p:txBody>
          <a:bodyPr wrap="square">
            <a:spAutoFit/>
          </a:bodyPr>
          <a:lstStyle/>
          <a:p>
            <a:r>
              <a:rPr lang="en-US" sz="2000" b="1" i="1" dirty="0"/>
              <a:t>Parametric insurance policies pay as a function of the characteristics (parameters) of an event and independently from the actual sustained loss</a:t>
            </a:r>
          </a:p>
        </p:txBody>
      </p:sp>
      <p:sp>
        <p:nvSpPr>
          <p:cNvPr id="6" name="TextBox 5">
            <a:extLst>
              <a:ext uri="{FF2B5EF4-FFF2-40B4-BE49-F238E27FC236}">
                <a16:creationId xmlns:a16="http://schemas.microsoft.com/office/drawing/2014/main" id="{3AFE9FF0-7264-0252-E300-759AE485D41B}"/>
              </a:ext>
            </a:extLst>
          </p:cNvPr>
          <p:cNvSpPr txBox="1"/>
          <p:nvPr/>
        </p:nvSpPr>
        <p:spPr>
          <a:xfrm>
            <a:off x="7703063" y="5303122"/>
            <a:ext cx="989452" cy="215444"/>
          </a:xfrm>
          <a:prstGeom prst="rect">
            <a:avLst/>
          </a:prstGeom>
          <a:solidFill>
            <a:srgbClr val="F0F0F0"/>
          </a:solidFill>
        </p:spPr>
        <p:txBody>
          <a:bodyPr wrap="square" lIns="0" tIns="0" rIns="0" bIns="0" rtlCol="0">
            <a:spAutoFit/>
          </a:bodyPr>
          <a:lstStyle/>
          <a:p>
            <a:pPr algn="ctr"/>
            <a:r>
              <a:rPr lang="en-US" sz="1400" b="1" dirty="0">
                <a:solidFill>
                  <a:schemeClr val="accent2"/>
                </a:solidFill>
              </a:rPr>
              <a:t>Event</a:t>
            </a:r>
          </a:p>
        </p:txBody>
      </p:sp>
    </p:spTree>
    <p:custDataLst>
      <p:custData r:id="rId1"/>
    </p:custDataLst>
    <p:extLst>
      <p:ext uri="{BB962C8B-B14F-4D97-AF65-F5344CB8AC3E}">
        <p14:creationId xmlns:p14="http://schemas.microsoft.com/office/powerpoint/2010/main" val="2521561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7D545-9141-F513-B41E-840CA88A65AF}"/>
            </a:ext>
          </a:extLst>
        </p:cNvPr>
        <p:cNvGrpSpPr/>
        <p:nvPr/>
      </p:nvGrpSpPr>
      <p:grpSpPr>
        <a:xfrm>
          <a:off x="0" y="0"/>
          <a:ext cx="0" cy="0"/>
          <a:chOff x="0" y="0"/>
          <a:chExt cx="0" cy="0"/>
        </a:xfrm>
      </p:grpSpPr>
      <p:grpSp>
        <p:nvGrpSpPr>
          <p:cNvPr id="1027" name="Group 1026">
            <a:extLst>
              <a:ext uri="{FF2B5EF4-FFF2-40B4-BE49-F238E27FC236}">
                <a16:creationId xmlns:a16="http://schemas.microsoft.com/office/drawing/2014/main" id="{FDF662FF-BE47-AEC6-7091-76F77785B118}"/>
              </a:ext>
            </a:extLst>
          </p:cNvPr>
          <p:cNvGrpSpPr/>
          <p:nvPr/>
        </p:nvGrpSpPr>
        <p:grpSpPr>
          <a:xfrm>
            <a:off x="328786" y="4668202"/>
            <a:ext cx="5676897" cy="1417952"/>
            <a:chOff x="485777" y="1369100"/>
            <a:chExt cx="5676897" cy="1417952"/>
          </a:xfrm>
        </p:grpSpPr>
        <p:sp>
          <p:nvSpPr>
            <p:cNvPr id="1029" name="TextBox 1028">
              <a:extLst>
                <a:ext uri="{FF2B5EF4-FFF2-40B4-BE49-F238E27FC236}">
                  <a16:creationId xmlns:a16="http://schemas.microsoft.com/office/drawing/2014/main" id="{E03AAD63-8E3E-2489-A365-71BD09A2C23C}"/>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1030" name="TextBox 1029">
              <a:extLst>
                <a:ext uri="{FF2B5EF4-FFF2-40B4-BE49-F238E27FC236}">
                  <a16:creationId xmlns:a16="http://schemas.microsoft.com/office/drawing/2014/main" id="{86EB1DC3-1526-DF5D-94D8-C82E1E828866}"/>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sz="1750" dirty="0">
                  <a:solidFill>
                    <a:schemeClr val="bg1"/>
                  </a:solidFill>
                </a:rPr>
                <a:t>Caribbean Catastrophe Risk Facility</a:t>
              </a:r>
            </a:p>
            <a:p>
              <a:r>
                <a:rPr lang="en-US" sz="1300" b="0" dirty="0">
                  <a:solidFill>
                    <a:schemeClr val="bg1"/>
                  </a:solidFill>
                </a:rPr>
                <a:t>The Caribbean Catastrophe Risk Facility was the first multinational pool to use parametric solutions to compensate its member countries via parametric policies</a:t>
              </a:r>
            </a:p>
          </p:txBody>
        </p:sp>
      </p:grpSp>
      <p:sp>
        <p:nvSpPr>
          <p:cNvPr id="1037" name="Rectangle 1036">
            <a:extLst>
              <a:ext uri="{FF2B5EF4-FFF2-40B4-BE49-F238E27FC236}">
                <a16:creationId xmlns:a16="http://schemas.microsoft.com/office/drawing/2014/main" id="{FFFB3CA7-47AA-B0B9-40DD-6E03791081FA}"/>
              </a:ext>
            </a:extLst>
          </p:cNvPr>
          <p:cNvSpPr/>
          <p:nvPr/>
        </p:nvSpPr>
        <p:spPr>
          <a:xfrm>
            <a:off x="500234" y="4802614"/>
            <a:ext cx="1383290" cy="1149127"/>
          </a:xfrm>
          <a:prstGeom prst="rect">
            <a:avLst/>
          </a:prstGeom>
          <a:solidFill>
            <a:srgbClr val="06ACD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nvGrpSpPr>
          <p:cNvPr id="1032" name="Group 1031">
            <a:extLst>
              <a:ext uri="{FF2B5EF4-FFF2-40B4-BE49-F238E27FC236}">
                <a16:creationId xmlns:a16="http://schemas.microsoft.com/office/drawing/2014/main" id="{3F39D197-3CA1-CDCE-7628-0EFF6E338CFA}"/>
              </a:ext>
            </a:extLst>
          </p:cNvPr>
          <p:cNvGrpSpPr/>
          <p:nvPr/>
        </p:nvGrpSpPr>
        <p:grpSpPr>
          <a:xfrm>
            <a:off x="6142133" y="4659079"/>
            <a:ext cx="5676897" cy="1417952"/>
            <a:chOff x="485777" y="1369100"/>
            <a:chExt cx="5676897" cy="1417952"/>
          </a:xfrm>
        </p:grpSpPr>
        <p:sp>
          <p:nvSpPr>
            <p:cNvPr id="1033" name="TextBox 1032">
              <a:extLst>
                <a:ext uri="{FF2B5EF4-FFF2-40B4-BE49-F238E27FC236}">
                  <a16:creationId xmlns:a16="http://schemas.microsoft.com/office/drawing/2014/main" id="{3E33D7CE-F36A-8644-9C85-D0C405657523}"/>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1034" name="TextBox 1033">
              <a:extLst>
                <a:ext uri="{FF2B5EF4-FFF2-40B4-BE49-F238E27FC236}">
                  <a16:creationId xmlns:a16="http://schemas.microsoft.com/office/drawing/2014/main" id="{714573DC-57A5-A394-BBCB-00967BCCFD79}"/>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dirty="0">
                  <a:solidFill>
                    <a:schemeClr val="bg1"/>
                  </a:solidFill>
                </a:rPr>
                <a:t>Pacific Alliance</a:t>
              </a:r>
            </a:p>
            <a:p>
              <a:r>
                <a:rPr lang="en-US" sz="1300" b="0" dirty="0">
                  <a:solidFill>
                    <a:schemeClr val="bg1"/>
                  </a:solidFill>
                </a:rPr>
                <a:t>The Pacific Alliance transaction was the biggest parametric transaction ever, reaching $1.4b of protection against earthquakes and covering the countries of Peru, Colombia, Chile and Mexico</a:t>
              </a:r>
            </a:p>
          </p:txBody>
        </p:sp>
      </p:grpSp>
      <p:grpSp>
        <p:nvGrpSpPr>
          <p:cNvPr id="61" name="Group 60">
            <a:extLst>
              <a:ext uri="{FF2B5EF4-FFF2-40B4-BE49-F238E27FC236}">
                <a16:creationId xmlns:a16="http://schemas.microsoft.com/office/drawing/2014/main" id="{CC11A00C-3241-CE21-DAAF-14DA4EFBAB44}"/>
              </a:ext>
            </a:extLst>
          </p:cNvPr>
          <p:cNvGrpSpPr/>
          <p:nvPr/>
        </p:nvGrpSpPr>
        <p:grpSpPr>
          <a:xfrm>
            <a:off x="328786" y="3017073"/>
            <a:ext cx="5676897" cy="1417952"/>
            <a:chOff x="485777" y="1369100"/>
            <a:chExt cx="5676897" cy="1417952"/>
          </a:xfrm>
        </p:grpSpPr>
        <p:sp>
          <p:nvSpPr>
            <p:cNvPr id="62" name="TextBox 61">
              <a:extLst>
                <a:ext uri="{FF2B5EF4-FFF2-40B4-BE49-F238E27FC236}">
                  <a16:creationId xmlns:a16="http://schemas.microsoft.com/office/drawing/2014/main" id="{78722C0E-FE8F-7CB0-ABB0-320C971F0AC5}"/>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63" name="TextBox 62">
              <a:extLst>
                <a:ext uri="{FF2B5EF4-FFF2-40B4-BE49-F238E27FC236}">
                  <a16:creationId xmlns:a16="http://schemas.microsoft.com/office/drawing/2014/main" id="{2C769AD0-7441-DABF-5A8B-513E905F0F77}"/>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dirty="0">
                  <a:solidFill>
                    <a:schemeClr val="bg1"/>
                  </a:solidFill>
                </a:rPr>
                <a:t>Government of Jamaica</a:t>
              </a:r>
            </a:p>
            <a:p>
              <a:r>
                <a:rPr lang="en-US" sz="1300" b="0" dirty="0">
                  <a:solidFill>
                    <a:schemeClr val="bg1"/>
                  </a:solidFill>
                </a:rPr>
                <a:t>The Government of Jamaica obtained named storm insurance protection through a cat bond triggering based on the storm location and minimum central pressure reported by the NHC</a:t>
              </a:r>
            </a:p>
          </p:txBody>
        </p:sp>
      </p:grpSp>
      <p:pic>
        <p:nvPicPr>
          <p:cNvPr id="1024" name="Picture 4" descr="Image result for jamaica flag">
            <a:extLst>
              <a:ext uri="{FF2B5EF4-FFF2-40B4-BE49-F238E27FC236}">
                <a16:creationId xmlns:a16="http://schemas.microsoft.com/office/drawing/2014/main" id="{33D89BD5-C94E-F6A1-5AAE-2885765B78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681" y="3300698"/>
            <a:ext cx="1366385" cy="83351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F843557-9874-774D-D3C6-7D1173238EE6}"/>
              </a:ext>
            </a:extLst>
          </p:cNvPr>
          <p:cNvSpPr>
            <a:spLocks noGrp="1"/>
          </p:cNvSpPr>
          <p:nvPr>
            <p:ph type="title"/>
          </p:nvPr>
        </p:nvSpPr>
        <p:spPr/>
        <p:txBody>
          <a:bodyPr/>
          <a:lstStyle/>
          <a:p>
            <a:r>
              <a:rPr lang="en-US" dirty="0"/>
              <a:t>Examples of Parametric Risk Transfer</a:t>
            </a:r>
          </a:p>
        </p:txBody>
      </p:sp>
      <p:sp>
        <p:nvSpPr>
          <p:cNvPr id="4" name="Slide Number Placeholder 3">
            <a:extLst>
              <a:ext uri="{FF2B5EF4-FFF2-40B4-BE49-F238E27FC236}">
                <a16:creationId xmlns:a16="http://schemas.microsoft.com/office/drawing/2014/main" id="{4F949175-F498-ED0C-D19B-C5315CE48425}"/>
              </a:ext>
            </a:extLst>
          </p:cNvPr>
          <p:cNvSpPr>
            <a:spLocks noGrp="1"/>
          </p:cNvSpPr>
          <p:nvPr>
            <p:ph type="sldNum" sz="quarter" idx="10"/>
          </p:nvPr>
        </p:nvSpPr>
        <p:spPr/>
        <p:txBody>
          <a:bodyPr/>
          <a:lstStyle/>
          <a:p>
            <a:pPr algn="r"/>
            <a:fld id="{DF66040D-6F20-4F4B-8995-856BEECD84BE}" type="slidenum">
              <a:rPr lang="en-US" smtClean="0"/>
              <a:pPr algn="r"/>
              <a:t>5</a:t>
            </a:fld>
            <a:endParaRPr lang="en-US" dirty="0"/>
          </a:p>
        </p:txBody>
      </p:sp>
      <p:sp>
        <p:nvSpPr>
          <p:cNvPr id="6" name="Text Placeholder 5">
            <a:extLst>
              <a:ext uri="{FF2B5EF4-FFF2-40B4-BE49-F238E27FC236}">
                <a16:creationId xmlns:a16="http://schemas.microsoft.com/office/drawing/2014/main" id="{3EC3310E-C9CA-F05F-65BA-6DD536DB09D6}"/>
              </a:ext>
            </a:extLst>
          </p:cNvPr>
          <p:cNvSpPr>
            <a:spLocks noGrp="1"/>
          </p:cNvSpPr>
          <p:nvPr>
            <p:ph type="body" sz="quarter" idx="12"/>
          </p:nvPr>
        </p:nvSpPr>
        <p:spPr/>
        <p:txBody>
          <a:bodyPr/>
          <a:lstStyle/>
          <a:p>
            <a:endParaRPr lang="en-US" dirty="0"/>
          </a:p>
        </p:txBody>
      </p:sp>
      <p:grpSp>
        <p:nvGrpSpPr>
          <p:cNvPr id="20" name="Group 19">
            <a:extLst>
              <a:ext uri="{FF2B5EF4-FFF2-40B4-BE49-F238E27FC236}">
                <a16:creationId xmlns:a16="http://schemas.microsoft.com/office/drawing/2014/main" id="{CBCF53C3-C569-A47D-AFFD-55719C3B0CFF}"/>
              </a:ext>
            </a:extLst>
          </p:cNvPr>
          <p:cNvGrpSpPr/>
          <p:nvPr/>
        </p:nvGrpSpPr>
        <p:grpSpPr>
          <a:xfrm>
            <a:off x="328786" y="1356821"/>
            <a:ext cx="5676897" cy="1417952"/>
            <a:chOff x="485777" y="1369100"/>
            <a:chExt cx="5676897" cy="1417952"/>
          </a:xfrm>
        </p:grpSpPr>
        <p:sp>
          <p:nvSpPr>
            <p:cNvPr id="16" name="TextBox 15">
              <a:extLst>
                <a:ext uri="{FF2B5EF4-FFF2-40B4-BE49-F238E27FC236}">
                  <a16:creationId xmlns:a16="http://schemas.microsoft.com/office/drawing/2014/main" id="{7DE4F683-049D-4E2E-B5D8-F99569D1DEF2}"/>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24" name="TextBox 23">
              <a:extLst>
                <a:ext uri="{FF2B5EF4-FFF2-40B4-BE49-F238E27FC236}">
                  <a16:creationId xmlns:a16="http://schemas.microsoft.com/office/drawing/2014/main" id="{2F1CC43A-EBFF-1B5F-0CFF-0EE6E81FE5C1}"/>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dirty="0">
                  <a:solidFill>
                    <a:schemeClr val="bg1"/>
                  </a:solidFill>
                </a:rPr>
                <a:t>New York MTA</a:t>
              </a:r>
            </a:p>
            <a:p>
              <a:r>
                <a:rPr lang="en-US" sz="1300" b="0" dirty="0">
                  <a:solidFill>
                    <a:schemeClr val="bg1"/>
                  </a:solidFill>
                </a:rPr>
                <a:t>After Hurricane Sandy, the MTA placed a cat bond called </a:t>
              </a:r>
              <a:r>
                <a:rPr lang="en-US" sz="1300" b="0" dirty="0" err="1">
                  <a:solidFill>
                    <a:schemeClr val="bg1"/>
                  </a:solidFill>
                </a:rPr>
                <a:t>MetroCat</a:t>
              </a:r>
              <a:r>
                <a:rPr lang="en-US" sz="1300" b="0" dirty="0">
                  <a:solidFill>
                    <a:schemeClr val="bg1"/>
                  </a:solidFill>
                </a:rPr>
                <a:t> to protect its infrastructure from storm surge impact based on NOAA tidal gauges around New York</a:t>
              </a:r>
            </a:p>
          </p:txBody>
        </p:sp>
      </p:grpSp>
      <p:grpSp>
        <p:nvGrpSpPr>
          <p:cNvPr id="35" name="Group 34">
            <a:extLst>
              <a:ext uri="{FF2B5EF4-FFF2-40B4-BE49-F238E27FC236}">
                <a16:creationId xmlns:a16="http://schemas.microsoft.com/office/drawing/2014/main" id="{DBAD63F7-4EBA-AC36-8A49-A734DAE814C1}"/>
              </a:ext>
            </a:extLst>
          </p:cNvPr>
          <p:cNvGrpSpPr/>
          <p:nvPr/>
        </p:nvGrpSpPr>
        <p:grpSpPr>
          <a:xfrm>
            <a:off x="6142133" y="3007950"/>
            <a:ext cx="5676897" cy="1417952"/>
            <a:chOff x="485777" y="1369100"/>
            <a:chExt cx="5676897" cy="1417952"/>
          </a:xfrm>
        </p:grpSpPr>
        <p:sp>
          <p:nvSpPr>
            <p:cNvPr id="36" name="TextBox 35">
              <a:extLst>
                <a:ext uri="{FF2B5EF4-FFF2-40B4-BE49-F238E27FC236}">
                  <a16:creationId xmlns:a16="http://schemas.microsoft.com/office/drawing/2014/main" id="{BE026A0A-0A12-E861-0B33-97769A87F605}"/>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37" name="TextBox 36">
              <a:extLst>
                <a:ext uri="{FF2B5EF4-FFF2-40B4-BE49-F238E27FC236}">
                  <a16:creationId xmlns:a16="http://schemas.microsoft.com/office/drawing/2014/main" id="{21BAC00E-4D3C-92BE-464F-8833398043D2}"/>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dirty="0">
                  <a:solidFill>
                    <a:schemeClr val="bg1"/>
                  </a:solidFill>
                </a:rPr>
                <a:t>Government of Mexico</a:t>
              </a:r>
            </a:p>
            <a:p>
              <a:r>
                <a:rPr lang="en-US" sz="1300" b="0" dirty="0">
                  <a:solidFill>
                    <a:schemeClr val="bg1"/>
                  </a:solidFill>
                </a:rPr>
                <a:t>Mexico has used parametric insurance solutions since 2007, obtaining coverage via cat bonds for emergency response and governmental assets after major earthquakes and tropical cyclones</a:t>
              </a:r>
            </a:p>
          </p:txBody>
        </p:sp>
      </p:grpSp>
      <p:pic>
        <p:nvPicPr>
          <p:cNvPr id="44" name="Picture 2" descr="new-york-mta-logo">
            <a:extLst>
              <a:ext uri="{FF2B5EF4-FFF2-40B4-BE49-F238E27FC236}">
                <a16:creationId xmlns:a16="http://schemas.microsoft.com/office/drawing/2014/main" id="{D4BF3F60-1D6B-B711-38B6-84E6FBB3248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096" r="12291"/>
          <a:stretch/>
        </p:blipFill>
        <p:spPr bwMode="auto">
          <a:xfrm>
            <a:off x="500235" y="1491233"/>
            <a:ext cx="1383290" cy="1149128"/>
          </a:xfrm>
          <a:prstGeom prst="rect">
            <a:avLst/>
          </a:prstGeom>
          <a:noFill/>
          <a:extLst>
            <a:ext uri="{909E8E84-426E-40DD-AFC4-6F175D3DCCD1}">
              <a14:hiddenFill xmlns:a14="http://schemas.microsoft.com/office/drawing/2010/main">
                <a:solidFill>
                  <a:srgbClr val="FFFFFF"/>
                </a:solidFill>
              </a14:hiddenFill>
            </a:ext>
          </a:extLst>
        </p:spPr>
      </p:pic>
      <p:grpSp>
        <p:nvGrpSpPr>
          <p:cNvPr id="52" name="Group 51">
            <a:extLst>
              <a:ext uri="{FF2B5EF4-FFF2-40B4-BE49-F238E27FC236}">
                <a16:creationId xmlns:a16="http://schemas.microsoft.com/office/drawing/2014/main" id="{D0AFC312-2F3E-8214-230E-34AD5E873380}"/>
              </a:ext>
            </a:extLst>
          </p:cNvPr>
          <p:cNvGrpSpPr/>
          <p:nvPr/>
        </p:nvGrpSpPr>
        <p:grpSpPr>
          <a:xfrm>
            <a:off x="6142133" y="1357103"/>
            <a:ext cx="5676897" cy="1417952"/>
            <a:chOff x="485777" y="1369100"/>
            <a:chExt cx="5676897" cy="1417952"/>
          </a:xfrm>
        </p:grpSpPr>
        <p:sp>
          <p:nvSpPr>
            <p:cNvPr id="53" name="TextBox 52">
              <a:extLst>
                <a:ext uri="{FF2B5EF4-FFF2-40B4-BE49-F238E27FC236}">
                  <a16:creationId xmlns:a16="http://schemas.microsoft.com/office/drawing/2014/main" id="{00D1423B-0B13-4275-6323-81242E3636C1}"/>
                </a:ext>
              </a:extLst>
            </p:cNvPr>
            <p:cNvSpPr txBox="1"/>
            <p:nvPr/>
          </p:nvSpPr>
          <p:spPr>
            <a:xfrm>
              <a:off x="485777" y="1369100"/>
              <a:ext cx="4529638"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68580" tIns="68580" rIns="68580" bIns="68580" numCol="1" spcCol="1270" anchor="t" anchorCtr="0">
              <a:noAutofit/>
            </a:bodyPr>
            <a:lstStyle>
              <a:lvl1pPr>
                <a:defRPr b="1"/>
              </a:lvl1pPr>
            </a:lstStyle>
            <a:p>
              <a:endParaRPr lang="en-US" sz="1600" b="0" dirty="0">
                <a:solidFill>
                  <a:schemeClr val="bg1"/>
                </a:solidFill>
              </a:endParaRPr>
            </a:p>
          </p:txBody>
        </p:sp>
        <p:sp>
          <p:nvSpPr>
            <p:cNvPr id="54" name="TextBox 53">
              <a:extLst>
                <a:ext uri="{FF2B5EF4-FFF2-40B4-BE49-F238E27FC236}">
                  <a16:creationId xmlns:a16="http://schemas.microsoft.com/office/drawing/2014/main" id="{05399837-F40F-60A3-65C4-EF51FF3329F3}"/>
                </a:ext>
              </a:extLst>
            </p:cNvPr>
            <p:cNvSpPr txBox="1"/>
            <p:nvPr/>
          </p:nvSpPr>
          <p:spPr>
            <a:xfrm>
              <a:off x="2040515" y="1369100"/>
              <a:ext cx="4122159" cy="1417952"/>
            </a:xfrm>
            <a:prstGeom prst="flowChartAlternateProcess">
              <a:avLst/>
            </a:prstGeom>
            <a:solidFill>
              <a:srgbClr val="002C77">
                <a:hueOff val="0"/>
                <a:satOff val="0"/>
                <a:lumOff val="0"/>
                <a:alphaOff val="0"/>
              </a:srgbClr>
            </a:solidFill>
            <a:ln w="25400" cap="flat" cmpd="sng" algn="ctr">
              <a:noFill/>
              <a:prstDash val="solid"/>
            </a:ln>
            <a:effectLst/>
          </p:spPr>
          <p:txBody>
            <a:bodyPr spcFirstLastPara="0" vert="horz" wrap="square" lIns="45720" tIns="45720" rIns="45720" bIns="45720" numCol="1" spcCol="1270" anchor="t" anchorCtr="0">
              <a:noAutofit/>
            </a:bodyPr>
            <a:lstStyle>
              <a:lvl1pPr>
                <a:defRPr b="1"/>
              </a:lvl1pPr>
            </a:lstStyle>
            <a:p>
              <a:r>
                <a:rPr lang="en-US" dirty="0">
                  <a:solidFill>
                    <a:schemeClr val="bg1"/>
                  </a:solidFill>
                </a:rPr>
                <a:t>New York City Neighborhoods</a:t>
              </a:r>
            </a:p>
            <a:p>
              <a:r>
                <a:rPr lang="en-US" sz="1300" b="0" dirty="0">
                  <a:solidFill>
                    <a:schemeClr val="bg1"/>
                  </a:solidFill>
                </a:rPr>
                <a:t>A community-based catastrophe insurance program was designed to expand coverage to lower-to-middle income households in NYC through a parametric flood cover</a:t>
              </a:r>
            </a:p>
          </p:txBody>
        </p:sp>
      </p:grpSp>
      <p:grpSp>
        <p:nvGrpSpPr>
          <p:cNvPr id="55" name="Group 54">
            <a:extLst>
              <a:ext uri="{FF2B5EF4-FFF2-40B4-BE49-F238E27FC236}">
                <a16:creationId xmlns:a16="http://schemas.microsoft.com/office/drawing/2014/main" id="{A97058AE-937B-1D2C-F1A5-06FD56178238}"/>
              </a:ext>
            </a:extLst>
          </p:cNvPr>
          <p:cNvGrpSpPr/>
          <p:nvPr/>
        </p:nvGrpSpPr>
        <p:grpSpPr>
          <a:xfrm>
            <a:off x="6313583" y="1491515"/>
            <a:ext cx="1383290" cy="1149127"/>
            <a:chOff x="714374" y="2883710"/>
            <a:chExt cx="1904999" cy="1582522"/>
          </a:xfrm>
        </p:grpSpPr>
        <p:sp>
          <p:nvSpPr>
            <p:cNvPr id="56" name="Rectangle 55">
              <a:extLst>
                <a:ext uri="{FF2B5EF4-FFF2-40B4-BE49-F238E27FC236}">
                  <a16:creationId xmlns:a16="http://schemas.microsoft.com/office/drawing/2014/main" id="{7C8921A2-49AD-0DB0-97F8-B84DC6766F3D}"/>
                </a:ext>
              </a:extLst>
            </p:cNvPr>
            <p:cNvSpPr/>
            <p:nvPr/>
          </p:nvSpPr>
          <p:spPr>
            <a:xfrm>
              <a:off x="714374" y="2883710"/>
              <a:ext cx="1904999" cy="15825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57" name="Picture 56">
              <a:extLst>
                <a:ext uri="{FF2B5EF4-FFF2-40B4-BE49-F238E27FC236}">
                  <a16:creationId xmlns:a16="http://schemas.microsoft.com/office/drawing/2014/main" id="{B698AEE2-20E0-C6E4-037D-6664F91509DC}"/>
                </a:ext>
              </a:extLst>
            </p:cNvPr>
            <p:cNvPicPr>
              <a:picLocks noChangeAspect="1"/>
            </p:cNvPicPr>
            <p:nvPr/>
          </p:nvPicPr>
          <p:blipFill>
            <a:blip r:embed="rId5"/>
            <a:srcRect l="1336" r="1503"/>
            <a:stretch/>
          </p:blipFill>
          <p:spPr>
            <a:xfrm>
              <a:off x="739775" y="3324089"/>
              <a:ext cx="1847850" cy="588309"/>
            </a:xfrm>
            <a:prstGeom prst="rect">
              <a:avLst/>
            </a:prstGeom>
          </p:spPr>
        </p:pic>
      </p:grpSp>
      <p:pic>
        <p:nvPicPr>
          <p:cNvPr id="1025" name="Picture 1024">
            <a:extLst>
              <a:ext uri="{FF2B5EF4-FFF2-40B4-BE49-F238E27FC236}">
                <a16:creationId xmlns:a16="http://schemas.microsoft.com/office/drawing/2014/main" id="{F21C775F-DE58-EA70-EB06-DE5E8E7B24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3509" y="3309292"/>
            <a:ext cx="1458829" cy="833514"/>
          </a:xfrm>
          <a:prstGeom prst="rect">
            <a:avLst/>
          </a:prstGeom>
        </p:spPr>
      </p:pic>
      <p:sp>
        <p:nvSpPr>
          <p:cNvPr id="1038" name="Rectangle 1037">
            <a:extLst>
              <a:ext uri="{FF2B5EF4-FFF2-40B4-BE49-F238E27FC236}">
                <a16:creationId xmlns:a16="http://schemas.microsoft.com/office/drawing/2014/main" id="{1DB03B92-AC30-BF7A-10E4-5025AF45576E}"/>
              </a:ext>
            </a:extLst>
          </p:cNvPr>
          <p:cNvSpPr/>
          <p:nvPr/>
        </p:nvSpPr>
        <p:spPr>
          <a:xfrm>
            <a:off x="499112" y="5288756"/>
            <a:ext cx="1385954" cy="662984"/>
          </a:xfrm>
          <a:prstGeom prst="rect">
            <a:avLst/>
          </a:prstGeom>
          <a:solidFill>
            <a:srgbClr val="0161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036" name="Picture 1035">
            <a:extLst>
              <a:ext uri="{FF2B5EF4-FFF2-40B4-BE49-F238E27FC236}">
                <a16:creationId xmlns:a16="http://schemas.microsoft.com/office/drawing/2014/main" id="{FFE4D12E-4C62-007A-559C-B1C8A14181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0233" y="5155897"/>
            <a:ext cx="1384413" cy="461471"/>
          </a:xfrm>
          <a:prstGeom prst="rect">
            <a:avLst/>
          </a:prstGeom>
        </p:spPr>
      </p:pic>
      <p:sp>
        <p:nvSpPr>
          <p:cNvPr id="1040" name="TextBox 1039">
            <a:extLst>
              <a:ext uri="{FF2B5EF4-FFF2-40B4-BE49-F238E27FC236}">
                <a16:creationId xmlns:a16="http://schemas.microsoft.com/office/drawing/2014/main" id="{433E1069-8D39-A8F7-7046-856C6305103E}"/>
              </a:ext>
            </a:extLst>
          </p:cNvPr>
          <p:cNvSpPr txBox="1"/>
          <p:nvPr/>
        </p:nvSpPr>
        <p:spPr>
          <a:xfrm>
            <a:off x="2690983" y="2737669"/>
            <a:ext cx="3314700" cy="215444"/>
          </a:xfrm>
          <a:prstGeom prst="rect">
            <a:avLst/>
          </a:prstGeom>
          <a:noFill/>
        </p:spPr>
        <p:txBody>
          <a:bodyPr wrap="square">
            <a:spAutoFit/>
          </a:bodyPr>
          <a:lstStyle/>
          <a:p>
            <a:pPr algn="r"/>
            <a:r>
              <a:rPr lang="en-US" sz="800" i="1" dirty="0">
                <a:hlinkClick r:id="rId8">
                  <a:extLst>
                    <a:ext uri="{A12FA001-AC4F-418D-AE19-62706E023703}">
                      <ahyp:hlinkClr xmlns:ahyp="http://schemas.microsoft.com/office/drawing/2018/hyperlinkcolor" val="tx"/>
                    </a:ext>
                  </a:extLst>
                </a:hlinkClick>
              </a:rPr>
              <a:t>https://www.artemis.bm/deal-directory/metrocat-re-ltd-series-2023-1/</a:t>
            </a:r>
            <a:endParaRPr lang="en-US" sz="800" i="1" dirty="0"/>
          </a:p>
        </p:txBody>
      </p:sp>
      <p:sp>
        <p:nvSpPr>
          <p:cNvPr id="1042" name="TextBox 1041">
            <a:extLst>
              <a:ext uri="{FF2B5EF4-FFF2-40B4-BE49-F238E27FC236}">
                <a16:creationId xmlns:a16="http://schemas.microsoft.com/office/drawing/2014/main" id="{DCE60397-07CA-9637-131A-A583BD1126C5}"/>
              </a:ext>
            </a:extLst>
          </p:cNvPr>
          <p:cNvSpPr txBox="1"/>
          <p:nvPr/>
        </p:nvSpPr>
        <p:spPr>
          <a:xfrm>
            <a:off x="6049868" y="2739347"/>
            <a:ext cx="5767556" cy="215444"/>
          </a:xfrm>
          <a:prstGeom prst="rect">
            <a:avLst/>
          </a:prstGeom>
          <a:noFill/>
        </p:spPr>
        <p:txBody>
          <a:bodyPr wrap="square">
            <a:spAutoFit/>
          </a:bodyPr>
          <a:lstStyle/>
          <a:p>
            <a:pPr algn="r"/>
            <a:r>
              <a:rPr lang="en-US" sz="800" i="1" dirty="0">
                <a:hlinkClick r:id="rId9">
                  <a:extLst>
                    <a:ext uri="{A12FA001-AC4F-418D-AE19-62706E023703}">
                      <ahyp:hlinkClr xmlns:ahyp="http://schemas.microsoft.com/office/drawing/2018/hyperlinkcolor" val="tx"/>
                    </a:ext>
                  </a:extLst>
                </a:hlinkClick>
              </a:rPr>
              <a:t>https://www.artemis.bm/news/swiss-re-guy-carpenter-iceye-deliver-nyc-parametric-flood-insurance/</a:t>
            </a:r>
            <a:endParaRPr lang="en-US" sz="800" i="1" dirty="0"/>
          </a:p>
        </p:txBody>
      </p:sp>
      <p:sp>
        <p:nvSpPr>
          <p:cNvPr id="1044" name="TextBox 1043">
            <a:extLst>
              <a:ext uri="{FF2B5EF4-FFF2-40B4-BE49-F238E27FC236}">
                <a16:creationId xmlns:a16="http://schemas.microsoft.com/office/drawing/2014/main" id="{B7801816-28F1-3747-32BD-CFB5F9C1AC67}"/>
              </a:ext>
            </a:extLst>
          </p:cNvPr>
          <p:cNvSpPr txBox="1"/>
          <p:nvPr/>
        </p:nvSpPr>
        <p:spPr>
          <a:xfrm>
            <a:off x="344248" y="4392465"/>
            <a:ext cx="5662441" cy="215444"/>
          </a:xfrm>
          <a:prstGeom prst="rect">
            <a:avLst/>
          </a:prstGeom>
          <a:noFill/>
        </p:spPr>
        <p:txBody>
          <a:bodyPr wrap="square">
            <a:spAutoFit/>
          </a:bodyPr>
          <a:lstStyle/>
          <a:p>
            <a:pPr algn="r"/>
            <a:r>
              <a:rPr lang="en-US" sz="800" i="1" dirty="0">
                <a:hlinkClick r:id="rId10">
                  <a:extLst>
                    <a:ext uri="{A12FA001-AC4F-418D-AE19-62706E023703}">
                      <ahyp:hlinkClr xmlns:ahyp="http://schemas.microsoft.com/office/drawing/2018/hyperlinkcolor" val="tx"/>
                    </a:ext>
                  </a:extLst>
                </a:hlinkClick>
              </a:rPr>
              <a:t>https://www.artemis.bm/deal-directory/ibrd-car-jamaica-2024/</a:t>
            </a:r>
            <a:endParaRPr lang="en-US" sz="800" i="1" dirty="0"/>
          </a:p>
        </p:txBody>
      </p:sp>
      <p:sp>
        <p:nvSpPr>
          <p:cNvPr id="1046" name="TextBox 1045">
            <a:extLst>
              <a:ext uri="{FF2B5EF4-FFF2-40B4-BE49-F238E27FC236}">
                <a16:creationId xmlns:a16="http://schemas.microsoft.com/office/drawing/2014/main" id="{6325C087-E5A7-89EF-BF73-E02AC311E640}"/>
              </a:ext>
            </a:extLst>
          </p:cNvPr>
          <p:cNvSpPr txBox="1"/>
          <p:nvPr/>
        </p:nvSpPr>
        <p:spPr>
          <a:xfrm>
            <a:off x="7505698" y="4389274"/>
            <a:ext cx="4311726" cy="215444"/>
          </a:xfrm>
          <a:prstGeom prst="rect">
            <a:avLst/>
          </a:prstGeom>
          <a:noFill/>
        </p:spPr>
        <p:txBody>
          <a:bodyPr wrap="square">
            <a:spAutoFit/>
          </a:bodyPr>
          <a:lstStyle/>
          <a:p>
            <a:pPr algn="r"/>
            <a:r>
              <a:rPr lang="en-US" sz="800" i="1" dirty="0">
                <a:hlinkClick r:id="rId11">
                  <a:extLst>
                    <a:ext uri="{A12FA001-AC4F-418D-AE19-62706E023703}">
                      <ahyp:hlinkClr xmlns:ahyp="http://schemas.microsoft.com/office/drawing/2018/hyperlinkcolor" val="tx"/>
                    </a:ext>
                  </a:extLst>
                </a:hlinkClick>
              </a:rPr>
              <a:t>https://www.artemis.bm/deal-directory/ibrd-car-mexico-2024/</a:t>
            </a:r>
            <a:endParaRPr lang="en-US" sz="800" i="1" dirty="0"/>
          </a:p>
        </p:txBody>
      </p:sp>
      <p:sp>
        <p:nvSpPr>
          <p:cNvPr id="1050" name="TextBox 1049">
            <a:extLst>
              <a:ext uri="{FF2B5EF4-FFF2-40B4-BE49-F238E27FC236}">
                <a16:creationId xmlns:a16="http://schemas.microsoft.com/office/drawing/2014/main" id="{CE18A759-C91D-264D-FD93-8D51A9D895E5}"/>
              </a:ext>
            </a:extLst>
          </p:cNvPr>
          <p:cNvSpPr txBox="1"/>
          <p:nvPr/>
        </p:nvSpPr>
        <p:spPr>
          <a:xfrm>
            <a:off x="-90317" y="6047261"/>
            <a:ext cx="6096000" cy="215444"/>
          </a:xfrm>
          <a:prstGeom prst="rect">
            <a:avLst/>
          </a:prstGeom>
          <a:noFill/>
        </p:spPr>
        <p:txBody>
          <a:bodyPr wrap="square">
            <a:spAutoFit/>
          </a:bodyPr>
          <a:lstStyle/>
          <a:p>
            <a:pPr algn="r"/>
            <a:r>
              <a:rPr lang="en-US" sz="800" i="1" dirty="0">
                <a:hlinkClick r:id="rId12">
                  <a:extLst>
                    <a:ext uri="{A12FA001-AC4F-418D-AE19-62706E023703}">
                      <ahyp:hlinkClr xmlns:ahyp="http://schemas.microsoft.com/office/drawing/2018/hyperlinkcolor" val="tx"/>
                    </a:ext>
                  </a:extLst>
                </a:hlinkClick>
              </a:rPr>
              <a:t>https://www.ccrif.org/</a:t>
            </a:r>
            <a:endParaRPr lang="en-US" sz="800" i="1" dirty="0"/>
          </a:p>
        </p:txBody>
      </p:sp>
      <p:sp>
        <p:nvSpPr>
          <p:cNvPr id="1054" name="TextBox 1053">
            <a:extLst>
              <a:ext uri="{FF2B5EF4-FFF2-40B4-BE49-F238E27FC236}">
                <a16:creationId xmlns:a16="http://schemas.microsoft.com/office/drawing/2014/main" id="{4639764D-6067-FA5F-0EE5-5DAB769F7A78}"/>
              </a:ext>
            </a:extLst>
          </p:cNvPr>
          <p:cNvSpPr txBox="1"/>
          <p:nvPr/>
        </p:nvSpPr>
        <p:spPr>
          <a:xfrm>
            <a:off x="5680168" y="6047261"/>
            <a:ext cx="6138862" cy="215444"/>
          </a:xfrm>
          <a:prstGeom prst="rect">
            <a:avLst/>
          </a:prstGeom>
          <a:noFill/>
        </p:spPr>
        <p:txBody>
          <a:bodyPr wrap="square">
            <a:spAutoFit/>
          </a:bodyPr>
          <a:lstStyle/>
          <a:p>
            <a:pPr algn="r"/>
            <a:r>
              <a:rPr lang="en-US" sz="800" i="1" dirty="0">
                <a:hlinkClick r:id="rId13">
                  <a:extLst>
                    <a:ext uri="{A12FA001-AC4F-418D-AE19-62706E023703}">
                      <ahyp:hlinkClr xmlns:ahyp="http://schemas.microsoft.com/office/drawing/2018/hyperlinkcolor" val="tx"/>
                    </a:ext>
                  </a:extLst>
                </a:hlinkClick>
              </a:rPr>
              <a:t>https://www.artemis.bm/news/pacific-alliance-cat-bond-to-settle-at-1-36bn-priced-below-guidance/</a:t>
            </a:r>
            <a:endParaRPr lang="en-US" sz="800" i="1" dirty="0"/>
          </a:p>
        </p:txBody>
      </p:sp>
      <p:sp>
        <p:nvSpPr>
          <p:cNvPr id="1056" name="Rectangle 1055">
            <a:extLst>
              <a:ext uri="{FF2B5EF4-FFF2-40B4-BE49-F238E27FC236}">
                <a16:creationId xmlns:a16="http://schemas.microsoft.com/office/drawing/2014/main" id="{28BD45BB-3246-F925-9260-780CB3831AE5}"/>
              </a:ext>
            </a:extLst>
          </p:cNvPr>
          <p:cNvSpPr/>
          <p:nvPr/>
        </p:nvSpPr>
        <p:spPr>
          <a:xfrm>
            <a:off x="6313583" y="4778607"/>
            <a:ext cx="1383290" cy="1149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055" name="Picture 1054">
            <a:extLst>
              <a:ext uri="{FF2B5EF4-FFF2-40B4-BE49-F238E27FC236}">
                <a16:creationId xmlns:a16="http://schemas.microsoft.com/office/drawing/2014/main" id="{33163225-9316-2381-C8D8-1030EC26FAEC}"/>
              </a:ext>
            </a:extLst>
          </p:cNvPr>
          <p:cNvPicPr>
            <a:picLocks noChangeAspect="1"/>
          </p:cNvPicPr>
          <p:nvPr/>
        </p:nvPicPr>
        <p:blipFill>
          <a:blip r:embed="rId14"/>
          <a:stretch>
            <a:fillRect/>
          </a:stretch>
        </p:blipFill>
        <p:spPr>
          <a:xfrm>
            <a:off x="6332027" y="5047119"/>
            <a:ext cx="1341793" cy="638731"/>
          </a:xfrm>
          <a:prstGeom prst="rect">
            <a:avLst/>
          </a:prstGeom>
        </p:spPr>
      </p:pic>
    </p:spTree>
    <p:extLst>
      <p:ext uri="{BB962C8B-B14F-4D97-AF65-F5344CB8AC3E}">
        <p14:creationId xmlns:p14="http://schemas.microsoft.com/office/powerpoint/2010/main" val="495260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F97CA-C22E-CE97-8205-866AEE91B0C0}"/>
            </a:ext>
          </a:extLst>
        </p:cNvPr>
        <p:cNvGrpSpPr/>
        <p:nvPr/>
      </p:nvGrpSpPr>
      <p:grpSpPr>
        <a:xfrm>
          <a:off x="0" y="0"/>
          <a:ext cx="0" cy="0"/>
          <a:chOff x="0" y="0"/>
          <a:chExt cx="0" cy="0"/>
        </a:xfrm>
      </p:grpSpPr>
      <p:pic>
        <p:nvPicPr>
          <p:cNvPr id="9" name="Picture 8" descr="A diagram of a river&#10;&#10;AI-generated content may be incorrect.">
            <a:extLst>
              <a:ext uri="{FF2B5EF4-FFF2-40B4-BE49-F238E27FC236}">
                <a16:creationId xmlns:a16="http://schemas.microsoft.com/office/drawing/2014/main" id="{8449DEEA-955C-7783-657D-4F0571451DD0}"/>
              </a:ext>
            </a:extLst>
          </p:cNvPr>
          <p:cNvPicPr>
            <a:picLocks noChangeAspect="1"/>
          </p:cNvPicPr>
          <p:nvPr/>
        </p:nvPicPr>
        <p:blipFill>
          <a:blip r:embed="rId4"/>
          <a:srcRect l="3842" t="4343" r="3477" b="8530"/>
          <a:stretch/>
        </p:blipFill>
        <p:spPr>
          <a:xfrm>
            <a:off x="193193" y="1382793"/>
            <a:ext cx="7574128" cy="4318376"/>
          </a:xfrm>
          <a:prstGeom prst="rect">
            <a:avLst/>
          </a:prstGeom>
        </p:spPr>
      </p:pic>
      <p:sp>
        <p:nvSpPr>
          <p:cNvPr id="8" name="Title 7">
            <a:extLst>
              <a:ext uri="{FF2B5EF4-FFF2-40B4-BE49-F238E27FC236}">
                <a16:creationId xmlns:a16="http://schemas.microsoft.com/office/drawing/2014/main" id="{5F5681DD-584D-2155-C5A2-DC83CF3C0A4A}"/>
              </a:ext>
            </a:extLst>
          </p:cNvPr>
          <p:cNvSpPr>
            <a:spLocks noGrp="1"/>
          </p:cNvSpPr>
          <p:nvPr>
            <p:ph type="title"/>
          </p:nvPr>
        </p:nvSpPr>
        <p:spPr>
          <a:xfrm>
            <a:off x="487787" y="355601"/>
            <a:ext cx="7479166" cy="495299"/>
          </a:xfrm>
        </p:spPr>
        <p:txBody>
          <a:bodyPr/>
          <a:lstStyle/>
          <a:p>
            <a:r>
              <a:rPr lang="en-US" dirty="0"/>
              <a:t>Intersection of Insurance &amp; Nature</a:t>
            </a:r>
          </a:p>
        </p:txBody>
      </p:sp>
      <p:sp>
        <p:nvSpPr>
          <p:cNvPr id="5" name="Footer Placeholder 4">
            <a:extLst>
              <a:ext uri="{FF2B5EF4-FFF2-40B4-BE49-F238E27FC236}">
                <a16:creationId xmlns:a16="http://schemas.microsoft.com/office/drawing/2014/main" id="{1C3151A6-89D7-7AB2-6B7D-B18D27E15C01}"/>
              </a:ext>
            </a:extLst>
          </p:cNvPr>
          <p:cNvSpPr>
            <a:spLocks noGrp="1"/>
          </p:cNvSpPr>
          <p:nvPr>
            <p:ph type="ftr" sz="quarter" idx="11"/>
          </p:nvPr>
        </p:nvSpPr>
        <p:spPr>
          <a:xfrm>
            <a:off x="3908054" y="6390000"/>
            <a:ext cx="3757686" cy="248400"/>
          </a:xfrm>
        </p:spPr>
        <p:txBody>
          <a:bodyPr/>
          <a:lstStyle/>
          <a:p>
            <a:endParaRPr lang="en-US" dirty="0"/>
          </a:p>
        </p:txBody>
      </p:sp>
      <p:grpSp>
        <p:nvGrpSpPr>
          <p:cNvPr id="6" name="Group 5">
            <a:extLst>
              <a:ext uri="{FF2B5EF4-FFF2-40B4-BE49-F238E27FC236}">
                <a16:creationId xmlns:a16="http://schemas.microsoft.com/office/drawing/2014/main" id="{A9B8C4BE-74DF-BC5A-C368-4051727A94BE}"/>
              </a:ext>
            </a:extLst>
          </p:cNvPr>
          <p:cNvGrpSpPr/>
          <p:nvPr/>
        </p:nvGrpSpPr>
        <p:grpSpPr>
          <a:xfrm>
            <a:off x="8122920" y="0"/>
            <a:ext cx="4069080" cy="6858000"/>
            <a:chOff x="6211018" y="0"/>
            <a:chExt cx="4069080" cy="6858000"/>
          </a:xfrm>
        </p:grpSpPr>
        <p:sp>
          <p:nvSpPr>
            <p:cNvPr id="2" name="Rectangle 1">
              <a:extLst>
                <a:ext uri="{FF2B5EF4-FFF2-40B4-BE49-F238E27FC236}">
                  <a16:creationId xmlns:a16="http://schemas.microsoft.com/office/drawing/2014/main" id="{6A173DC5-9CAA-D33F-9EAE-DA2D87F10263}"/>
                </a:ext>
              </a:extLst>
            </p:cNvPr>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3" name="Isosceles Triangle 2">
              <a:extLst>
                <a:ext uri="{FF2B5EF4-FFF2-40B4-BE49-F238E27FC236}">
                  <a16:creationId xmlns:a16="http://schemas.microsoft.com/office/drawing/2014/main" id="{F09CA8D1-4D72-A5E8-3FCD-EF7E1AC240BE}"/>
                </a:ext>
              </a:extLst>
            </p:cNvPr>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4" name="Slide Number Placeholder 3">
            <a:extLst>
              <a:ext uri="{FF2B5EF4-FFF2-40B4-BE49-F238E27FC236}">
                <a16:creationId xmlns:a16="http://schemas.microsoft.com/office/drawing/2014/main" id="{F255C79D-6D34-BDE0-6845-5D06F54C718F}"/>
              </a:ext>
            </a:extLst>
          </p:cNvPr>
          <p:cNvSpPr>
            <a:spLocks noGrp="1"/>
          </p:cNvSpPr>
          <p:nvPr>
            <p:ph type="sldNum" sz="quarter" idx="10"/>
          </p:nvPr>
        </p:nvSpPr>
        <p:spPr/>
        <p:txBody>
          <a:bodyPr/>
          <a:lstStyle/>
          <a:p>
            <a:fld id="{DF66040D-6F20-4F4B-8995-856BEECD84BE}" type="slidenum">
              <a:rPr lang="en-US" smtClean="0"/>
              <a:pPr/>
              <a:t>6</a:t>
            </a:fld>
            <a:endParaRPr lang="en-US" dirty="0"/>
          </a:p>
        </p:txBody>
      </p:sp>
      <p:sp>
        <p:nvSpPr>
          <p:cNvPr id="13" name="TextBox 12">
            <a:extLst>
              <a:ext uri="{FF2B5EF4-FFF2-40B4-BE49-F238E27FC236}">
                <a16:creationId xmlns:a16="http://schemas.microsoft.com/office/drawing/2014/main" id="{EA28CE07-FF37-3E6C-AD00-91BEA1F26E4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en-US" sz="800" b="0" i="0" u="none" strike="noStrike" kern="0" cap="none" spc="0" normalizeH="0" baseline="0" noProof="0" dirty="0">
              <a:ln>
                <a:noFill/>
              </a:ln>
              <a:solidFill>
                <a:srgbClr val="FFFFFF"/>
              </a:solidFill>
              <a:effectLst/>
              <a:uLnTx/>
              <a:uFillTx/>
            </a:endParaRPr>
          </a:p>
        </p:txBody>
      </p:sp>
      <p:sp>
        <p:nvSpPr>
          <p:cNvPr id="15" name="Rectangle 14">
            <a:extLst>
              <a:ext uri="{FF2B5EF4-FFF2-40B4-BE49-F238E27FC236}">
                <a16:creationId xmlns:a16="http://schemas.microsoft.com/office/drawing/2014/main" id="{5B10CFF4-18A9-6E82-EAB9-EA9600DC352B}"/>
              </a:ext>
            </a:extLst>
          </p:cNvPr>
          <p:cNvSpPr/>
          <p:nvPr/>
        </p:nvSpPr>
        <p:spPr>
          <a:xfrm>
            <a:off x="8458787" y="1312392"/>
            <a:ext cx="3540020" cy="3554819"/>
          </a:xfrm>
          <a:prstGeom prst="rect">
            <a:avLst/>
          </a:prstGeom>
        </p:spPr>
        <p:txBody>
          <a:bodyPr wrap="square">
            <a:spAutoFit/>
          </a:bodyPr>
          <a:lstStyle/>
          <a:p>
            <a:pPr marL="0" lvl="1">
              <a:spcAft>
                <a:spcPts val="300"/>
              </a:spcAft>
            </a:pPr>
            <a:r>
              <a:rPr lang="en-US" sz="2000" b="1" kern="0" dirty="0">
                <a:solidFill>
                  <a:schemeClr val="bg1"/>
                </a:solidFill>
              </a:rPr>
              <a:t>When communities invest in nature-based solutions, they reduce their risk to coastal hazards</a:t>
            </a:r>
          </a:p>
          <a:p>
            <a:pPr marL="0" lvl="1">
              <a:spcAft>
                <a:spcPts val="300"/>
              </a:spcAft>
            </a:pPr>
            <a:endParaRPr lang="en-US" sz="2000" b="1" kern="0" dirty="0">
              <a:solidFill>
                <a:schemeClr val="bg1"/>
              </a:solidFill>
            </a:endParaRPr>
          </a:p>
          <a:p>
            <a:pPr marL="0" lvl="1">
              <a:spcAft>
                <a:spcPts val="300"/>
              </a:spcAft>
            </a:pPr>
            <a:r>
              <a:rPr lang="en-US" sz="2000" b="1" kern="0" dirty="0">
                <a:solidFill>
                  <a:schemeClr val="bg1"/>
                </a:solidFill>
              </a:rPr>
              <a:t>Through this investment, we anticipate communities may see their insurance premium reduced to reflect the risk reduction attributed to NBS</a:t>
            </a:r>
          </a:p>
        </p:txBody>
      </p:sp>
      <p:sp>
        <p:nvSpPr>
          <p:cNvPr id="11" name="TextBox 10">
            <a:extLst>
              <a:ext uri="{FF2B5EF4-FFF2-40B4-BE49-F238E27FC236}">
                <a16:creationId xmlns:a16="http://schemas.microsoft.com/office/drawing/2014/main" id="{494B80E3-0132-F4DF-7894-9317900DB575}"/>
              </a:ext>
            </a:extLst>
          </p:cNvPr>
          <p:cNvSpPr txBox="1"/>
          <p:nvPr/>
        </p:nvSpPr>
        <p:spPr>
          <a:xfrm>
            <a:off x="1162180" y="5764436"/>
            <a:ext cx="6206286" cy="138499"/>
          </a:xfrm>
          <a:prstGeom prst="rect">
            <a:avLst/>
          </a:prstGeom>
          <a:noFill/>
        </p:spPr>
        <p:txBody>
          <a:bodyPr wrap="square" lIns="0" tIns="0" rIns="0" bIns="0" rtlCol="0">
            <a:spAutoFit/>
          </a:bodyPr>
          <a:lstStyle/>
          <a:p>
            <a:pPr algn="r"/>
            <a:r>
              <a:rPr lang="en-US" sz="900" b="1" i="1" dirty="0"/>
              <a:t>Adapted from World Bank, Forces of Nature.</a:t>
            </a:r>
            <a:endParaRPr lang="en-US" sz="900" i="1" dirty="0"/>
          </a:p>
        </p:txBody>
      </p:sp>
    </p:spTree>
    <p:custDataLst>
      <p:custData r:id="rId1"/>
    </p:custDataLst>
    <p:extLst>
      <p:ext uri="{BB962C8B-B14F-4D97-AF65-F5344CB8AC3E}">
        <p14:creationId xmlns:p14="http://schemas.microsoft.com/office/powerpoint/2010/main" val="3716967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custDataLst>
              <p:custData r:id="rId2"/>
            </p:custDataLst>
          </p:nvPr>
        </p:nvGrpSpPr>
        <p:grpSpPr>
          <a:xfrm rot="10800000">
            <a:off x="-81571" y="0"/>
            <a:ext cx="6659509" cy="6858000"/>
            <a:chOff x="6075708" y="0"/>
            <a:chExt cx="6116293" cy="6858000"/>
          </a:xfrm>
          <a:solidFill>
            <a:schemeClr val="accent1"/>
          </a:solidFill>
        </p:grpSpPr>
        <p:sp>
          <p:nvSpPr>
            <p:cNvPr id="8" name="Rectangle 7"/>
            <p:cNvSpPr/>
            <p:nvPr/>
          </p:nvSpPr>
          <p:spPr>
            <a:xfrm>
              <a:off x="6211019" y="0"/>
              <a:ext cx="5980982" cy="685800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Isosceles Triangle 8"/>
            <p:cNvSpPr/>
            <p:nvPr/>
          </p:nvSpPr>
          <p:spPr>
            <a:xfrm rot="16200000" flipH="1">
              <a:off x="6021037" y="3360784"/>
              <a:ext cx="245745" cy="136403"/>
            </a:xfrm>
            <a:prstGeom prst="triangle">
              <a:avLst>
                <a:gd name="adj" fmla="val 49999"/>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 name="Title 1"/>
          <p:cNvSpPr>
            <a:spLocks noGrp="1"/>
          </p:cNvSpPr>
          <p:nvPr>
            <p:ph type="title"/>
            <p:custDataLst>
              <p:custData r:id="rId3"/>
            </p:custDataLst>
          </p:nvPr>
        </p:nvSpPr>
        <p:spPr>
          <a:xfrm>
            <a:off x="485776" y="355601"/>
            <a:ext cx="5494367" cy="495299"/>
          </a:xfrm>
        </p:spPr>
        <p:txBody>
          <a:bodyPr/>
          <a:lstStyle/>
          <a:p>
            <a:r>
              <a:rPr lang="en-US" dirty="0">
                <a:solidFill>
                  <a:schemeClr val="lt1"/>
                </a:solidFill>
              </a:rPr>
              <a:t>Case Study</a:t>
            </a:r>
          </a:p>
        </p:txBody>
      </p:sp>
      <p:sp>
        <p:nvSpPr>
          <p:cNvPr id="3" name="Content Placeholder 2"/>
          <p:cNvSpPr>
            <a:spLocks noGrp="1"/>
          </p:cNvSpPr>
          <p:nvPr>
            <p:ph idx="1"/>
            <p:custDataLst>
              <p:custData r:id="rId4"/>
            </p:custDataLst>
          </p:nvPr>
        </p:nvSpPr>
        <p:spPr>
          <a:xfrm>
            <a:off x="326153" y="5411558"/>
            <a:ext cx="5732144" cy="759284"/>
          </a:xfrm>
        </p:spPr>
        <p:txBody>
          <a:bodyPr/>
          <a:lstStyle/>
          <a:p>
            <a:pPr marL="0" lvl="1" indent="0" algn="ctr">
              <a:spcAft>
                <a:spcPts val="300"/>
              </a:spcAft>
              <a:buNone/>
            </a:pPr>
            <a:r>
              <a:rPr lang="en-US" sz="1600" b="1" kern="0" dirty="0">
                <a:solidFill>
                  <a:srgbClr val="F0F0F0"/>
                </a:solidFill>
              </a:rPr>
              <a:t>We design and price parametric insurance structures considering both the presence and loss of mangroves for three progressively smaller geographic regions</a:t>
            </a:r>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7</a:t>
            </a:fld>
            <a:endParaRPr lang="en-US" dirty="0"/>
          </a:p>
        </p:txBody>
      </p:sp>
      <p:sp>
        <p:nvSpPr>
          <p:cNvPr id="5" name="Footer Placeholder 4"/>
          <p:cNvSpPr>
            <a:spLocks noGrp="1"/>
          </p:cNvSpPr>
          <p:nvPr>
            <p:ph type="ftr" sz="quarter" idx="11"/>
            <p:custDataLst>
              <p:custData r:id="rId5"/>
            </p:custDataLst>
          </p:nvPr>
        </p:nvSpPr>
        <p:spPr>
          <a:xfrm>
            <a:off x="1402019" y="6390000"/>
            <a:ext cx="4557564" cy="248400"/>
          </a:xfrm>
        </p:spPr>
        <p:txBody>
          <a:bodyPr/>
          <a:lstStyle/>
          <a:p>
            <a:pPr algn="r">
              <a:spcAft>
                <a:spcPts val="600"/>
              </a:spcAft>
              <a:buFont typeface="Arial" panose="020B0604020202020204" pitchFamily="34" charset="0"/>
              <a:buNone/>
            </a:pPr>
            <a:endParaRPr lang="en-US" dirty="0">
              <a:solidFill>
                <a:schemeClr val="lt1"/>
              </a:solidFill>
            </a:endParaRPr>
          </a:p>
        </p:txBody>
      </p:sp>
      <p:sp>
        <p:nvSpPr>
          <p:cNvPr id="6" name="Text Placeholder 5"/>
          <p:cNvSpPr>
            <a:spLocks noGrp="1"/>
          </p:cNvSpPr>
          <p:nvPr>
            <p:ph type="body" sz="quarter" idx="12"/>
            <p:custDataLst>
              <p:custData r:id="rId6"/>
            </p:custDataLst>
          </p:nvPr>
        </p:nvSpPr>
        <p:spPr>
          <a:xfrm>
            <a:off x="485776" y="806400"/>
            <a:ext cx="5495923" cy="320400"/>
          </a:xfrm>
        </p:spPr>
        <p:txBody>
          <a:bodyPr/>
          <a:lstStyle/>
          <a:p>
            <a:r>
              <a:rPr lang="en-US" sz="2000" dirty="0">
                <a:solidFill>
                  <a:schemeClr val="lt1"/>
                </a:solidFill>
              </a:rPr>
              <a:t>Mangrove Forests in the Philippines</a:t>
            </a:r>
          </a:p>
        </p:txBody>
      </p:sp>
      <p:pic>
        <p:nvPicPr>
          <p:cNvPr id="11" name="ContentLogoReverse_WHITE" descr="The Guy Carpenter company logo.">
            <a:extLst>
              <a:ext uri="{FF2B5EF4-FFF2-40B4-BE49-F238E27FC236}">
                <a16:creationId xmlns:a16="http://schemas.microsoft.com/office/drawing/2014/main" id="{3A9D4A33-963C-B912-9EBE-7A2D0A681A5A}"/>
              </a:ext>
            </a:extLst>
          </p:cNvPr>
          <p:cNvPicPr>
            <a:picLocks noChangeAspect="1"/>
          </p:cNvPicPr>
          <p:nvPr/>
        </p:nvPicPr>
        <p:blipFill>
          <a:blip r:embed="rId8"/>
          <a:stretch>
            <a:fillRect/>
          </a:stretch>
        </p:blipFill>
        <p:spPr bwMode="invGray">
          <a:xfrm>
            <a:off x="486029" y="6515989"/>
            <a:ext cx="1240539" cy="137160"/>
          </a:xfrm>
          <a:prstGeom prst="rect">
            <a:avLst/>
          </a:prstGeom>
        </p:spPr>
      </p:pic>
      <p:pic>
        <p:nvPicPr>
          <p:cNvPr id="13" name="ContentLogoReverse_COLOUR" descr="The Guy Carpenter company logo." hidden="1">
            <a:extLst>
              <a:ext uri="{FF2B5EF4-FFF2-40B4-BE49-F238E27FC236}">
                <a16:creationId xmlns:a16="http://schemas.microsoft.com/office/drawing/2014/main" id="{62028EB0-25C3-36A5-6427-3114748275DF}"/>
              </a:ext>
            </a:extLst>
          </p:cNvPr>
          <p:cNvPicPr>
            <a:picLocks noChangeAspect="1"/>
          </p:cNvPicPr>
          <p:nvPr/>
        </p:nvPicPr>
        <p:blipFill>
          <a:blip r:embed="rId9"/>
          <a:stretch>
            <a:fillRect/>
          </a:stretch>
        </p:blipFill>
        <p:spPr bwMode="invGray">
          <a:xfrm>
            <a:off x="486029" y="6515989"/>
            <a:ext cx="1240539" cy="137160"/>
          </a:xfrm>
          <a:prstGeom prst="rect">
            <a:avLst/>
          </a:prstGeom>
        </p:spPr>
      </p:pic>
      <p:sp>
        <p:nvSpPr>
          <p:cNvPr id="14" name="TextBox 13">
            <a:extLst>
              <a:ext uri="{FF2B5EF4-FFF2-40B4-BE49-F238E27FC236}">
                <a16:creationId xmlns:a16="http://schemas.microsoft.com/office/drawing/2014/main" id="{77B289D0-AAA9-29B9-F169-B7DDDB144ECB}"/>
              </a:ext>
            </a:extLst>
          </p:cNvPr>
          <p:cNvSpPr txBox="1"/>
          <p:nvPr/>
        </p:nvSpPr>
        <p:spPr>
          <a:xfrm>
            <a:off x="6779171" y="1316462"/>
            <a:ext cx="2105197" cy="1077218"/>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600" b="1" dirty="0">
                <a:solidFill>
                  <a:schemeClr val="bg1"/>
                </a:solidFill>
              </a:rPr>
              <a:t>Calculate baseline losses to the study area using a catastrophe model</a:t>
            </a:r>
          </a:p>
        </p:txBody>
      </p:sp>
      <p:sp>
        <p:nvSpPr>
          <p:cNvPr id="15" name="TextBox 14">
            <a:extLst>
              <a:ext uri="{FF2B5EF4-FFF2-40B4-BE49-F238E27FC236}">
                <a16:creationId xmlns:a16="http://schemas.microsoft.com/office/drawing/2014/main" id="{B7F718B1-C5DA-6633-F618-4DBFBEEDB6B2}"/>
              </a:ext>
            </a:extLst>
          </p:cNvPr>
          <p:cNvSpPr txBox="1"/>
          <p:nvPr/>
        </p:nvSpPr>
        <p:spPr>
          <a:xfrm>
            <a:off x="9787890" y="1314730"/>
            <a:ext cx="2103120" cy="1077218"/>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600" b="1" dirty="0">
                <a:solidFill>
                  <a:schemeClr val="bg1"/>
                </a:solidFill>
              </a:rPr>
              <a:t>Adjust the baseline losses by applying “risk reduction factors”</a:t>
            </a:r>
          </a:p>
        </p:txBody>
      </p:sp>
      <p:sp>
        <p:nvSpPr>
          <p:cNvPr id="16" name="TextBox 15">
            <a:extLst>
              <a:ext uri="{FF2B5EF4-FFF2-40B4-BE49-F238E27FC236}">
                <a16:creationId xmlns:a16="http://schemas.microsoft.com/office/drawing/2014/main" id="{213EAB51-BF60-87A5-3A2F-3305CCA9E284}"/>
              </a:ext>
            </a:extLst>
          </p:cNvPr>
          <p:cNvSpPr txBox="1"/>
          <p:nvPr/>
        </p:nvSpPr>
        <p:spPr>
          <a:xfrm>
            <a:off x="6672839" y="930010"/>
            <a:ext cx="2317859" cy="338554"/>
          </a:xfrm>
          <a:prstGeom prst="rect">
            <a:avLst/>
          </a:prstGeom>
          <a:noFill/>
        </p:spPr>
        <p:txBody>
          <a:bodyPr wrap="square">
            <a:spAutoFit/>
          </a:bodyPr>
          <a:lstStyle/>
          <a:p>
            <a:pPr algn="ctr"/>
            <a:r>
              <a:rPr lang="en-US" sz="1600" b="1" dirty="0">
                <a:solidFill>
                  <a:schemeClr val="accent1"/>
                </a:solidFill>
                <a:ea typeface="Calibri" panose="020F0502020204030204" pitchFamily="34" charset="0"/>
                <a:cs typeface="Latha" panose="020B0604020202020204" pitchFamily="34" charset="0"/>
              </a:rPr>
              <a:t>Baseline Scenario </a:t>
            </a:r>
            <a:endParaRPr lang="en-US" sz="1600" dirty="0">
              <a:solidFill>
                <a:schemeClr val="accent1"/>
              </a:solidFill>
            </a:endParaRPr>
          </a:p>
        </p:txBody>
      </p:sp>
      <p:sp>
        <p:nvSpPr>
          <p:cNvPr id="17" name="TextBox 16">
            <a:extLst>
              <a:ext uri="{FF2B5EF4-FFF2-40B4-BE49-F238E27FC236}">
                <a16:creationId xmlns:a16="http://schemas.microsoft.com/office/drawing/2014/main" id="{2D166C4E-730E-8778-19EA-78E4A1318B69}"/>
              </a:ext>
            </a:extLst>
          </p:cNvPr>
          <p:cNvSpPr txBox="1"/>
          <p:nvPr/>
        </p:nvSpPr>
        <p:spPr>
          <a:xfrm>
            <a:off x="9560111" y="930011"/>
            <a:ext cx="2558678" cy="338554"/>
          </a:xfrm>
          <a:prstGeom prst="rect">
            <a:avLst/>
          </a:prstGeom>
          <a:noFill/>
        </p:spPr>
        <p:txBody>
          <a:bodyPr wrap="square">
            <a:spAutoFit/>
          </a:bodyPr>
          <a:lstStyle/>
          <a:p>
            <a:pPr algn="ctr"/>
            <a:r>
              <a:rPr lang="en-US" sz="1600" b="1" dirty="0">
                <a:solidFill>
                  <a:schemeClr val="accent1"/>
                </a:solidFill>
                <a:ea typeface="Calibri" panose="020F0502020204030204" pitchFamily="34" charset="0"/>
                <a:cs typeface="Latha" panose="020B0604020202020204" pitchFamily="34" charset="0"/>
              </a:rPr>
              <a:t>Mangroves Removed</a:t>
            </a:r>
            <a:endParaRPr lang="en-US" sz="1600" dirty="0">
              <a:solidFill>
                <a:schemeClr val="accent1"/>
              </a:solidFill>
            </a:endParaRPr>
          </a:p>
        </p:txBody>
      </p:sp>
      <p:sp>
        <p:nvSpPr>
          <p:cNvPr id="18" name="TextBox 17">
            <a:extLst>
              <a:ext uri="{FF2B5EF4-FFF2-40B4-BE49-F238E27FC236}">
                <a16:creationId xmlns:a16="http://schemas.microsoft.com/office/drawing/2014/main" id="{BC678ACC-9885-F48F-0629-A893234B2FDB}"/>
              </a:ext>
            </a:extLst>
          </p:cNvPr>
          <p:cNvSpPr txBox="1"/>
          <p:nvPr/>
        </p:nvSpPr>
        <p:spPr>
          <a:xfrm>
            <a:off x="7325360" y="3194859"/>
            <a:ext cx="4013200" cy="584775"/>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600" b="1" dirty="0">
                <a:solidFill>
                  <a:schemeClr val="bg1"/>
                </a:solidFill>
              </a:rPr>
              <a:t>Construct parametric product prototypes for both Scenarios</a:t>
            </a:r>
          </a:p>
        </p:txBody>
      </p:sp>
      <p:cxnSp>
        <p:nvCxnSpPr>
          <p:cNvPr id="19" name="Straight Arrow Connector 18">
            <a:extLst>
              <a:ext uri="{FF2B5EF4-FFF2-40B4-BE49-F238E27FC236}">
                <a16:creationId xmlns:a16="http://schemas.microsoft.com/office/drawing/2014/main" id="{9741D772-2F1E-CC4E-0AD3-B6E28F55D652}"/>
              </a:ext>
            </a:extLst>
          </p:cNvPr>
          <p:cNvCxnSpPr>
            <a:cxnSpLocks/>
            <a:stCxn id="14" idx="3"/>
            <a:endCxn id="15" idx="1"/>
          </p:cNvCxnSpPr>
          <p:nvPr/>
        </p:nvCxnSpPr>
        <p:spPr>
          <a:xfrm flipV="1">
            <a:off x="8884368" y="1853339"/>
            <a:ext cx="903522" cy="173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82B5F877-C88F-C691-E429-A67E17C62AF6}"/>
              </a:ext>
            </a:extLst>
          </p:cNvPr>
          <p:cNvSpPr txBox="1"/>
          <p:nvPr/>
        </p:nvSpPr>
        <p:spPr>
          <a:xfrm>
            <a:off x="7325360" y="4321719"/>
            <a:ext cx="4013200" cy="584775"/>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600" b="1" dirty="0">
                <a:solidFill>
                  <a:schemeClr val="bg1"/>
                </a:solidFill>
              </a:rPr>
              <a:t>Obtain pricing for both parametric product prototypes</a:t>
            </a:r>
          </a:p>
        </p:txBody>
      </p:sp>
      <p:cxnSp>
        <p:nvCxnSpPr>
          <p:cNvPr id="21" name="Straight Arrow Connector 20">
            <a:extLst>
              <a:ext uri="{FF2B5EF4-FFF2-40B4-BE49-F238E27FC236}">
                <a16:creationId xmlns:a16="http://schemas.microsoft.com/office/drawing/2014/main" id="{5F28AC5C-EE4B-E357-AA0A-9DAB29ED0B9F}"/>
              </a:ext>
            </a:extLst>
          </p:cNvPr>
          <p:cNvCxnSpPr>
            <a:cxnSpLocks/>
            <a:stCxn id="18" idx="2"/>
            <a:endCxn id="20" idx="0"/>
          </p:cNvCxnSpPr>
          <p:nvPr/>
        </p:nvCxnSpPr>
        <p:spPr>
          <a:xfrm>
            <a:off x="9331960" y="3779634"/>
            <a:ext cx="0" cy="542085"/>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00BC835F-C4D4-4195-D897-371ABE0144A1}"/>
              </a:ext>
            </a:extLst>
          </p:cNvPr>
          <p:cNvSpPr txBox="1"/>
          <p:nvPr/>
        </p:nvSpPr>
        <p:spPr>
          <a:xfrm>
            <a:off x="7325360" y="5334621"/>
            <a:ext cx="4013200" cy="830997"/>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lang="en-US" sz="1600" b="1" dirty="0">
                <a:solidFill>
                  <a:schemeClr val="bg1"/>
                </a:solidFill>
              </a:rPr>
              <a:t>Compare prices of parametric product prototypes to evaluate potential savings in premium with mangroves</a:t>
            </a:r>
          </a:p>
        </p:txBody>
      </p:sp>
      <p:cxnSp>
        <p:nvCxnSpPr>
          <p:cNvPr id="23" name="Straight Arrow Connector 22">
            <a:extLst>
              <a:ext uri="{FF2B5EF4-FFF2-40B4-BE49-F238E27FC236}">
                <a16:creationId xmlns:a16="http://schemas.microsoft.com/office/drawing/2014/main" id="{C17967D7-77E7-4DEB-4AC1-CDD97DE579FA}"/>
              </a:ext>
            </a:extLst>
          </p:cNvPr>
          <p:cNvCxnSpPr>
            <a:cxnSpLocks/>
            <a:stCxn id="20" idx="2"/>
            <a:endCxn id="22" idx="0"/>
          </p:cNvCxnSpPr>
          <p:nvPr/>
        </p:nvCxnSpPr>
        <p:spPr>
          <a:xfrm>
            <a:off x="9331960" y="4906494"/>
            <a:ext cx="0" cy="428127"/>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24" name="Elbow Connector 35">
            <a:extLst>
              <a:ext uri="{FF2B5EF4-FFF2-40B4-BE49-F238E27FC236}">
                <a16:creationId xmlns:a16="http://schemas.microsoft.com/office/drawing/2014/main" id="{A98BC3C0-9E5F-B175-3090-743AE0D2C03C}"/>
              </a:ext>
            </a:extLst>
          </p:cNvPr>
          <p:cNvCxnSpPr>
            <a:cxnSpLocks/>
            <a:stCxn id="14" idx="2"/>
            <a:endCxn id="18" idx="0"/>
          </p:cNvCxnSpPr>
          <p:nvPr/>
        </p:nvCxnSpPr>
        <p:spPr>
          <a:xfrm rot="16200000" flipH="1">
            <a:off x="8181276" y="2044174"/>
            <a:ext cx="801179" cy="1500190"/>
          </a:xfrm>
          <a:prstGeom prst="bentConnector3">
            <a:avLst>
              <a:gd name="adj1" fmla="val 50000"/>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25" name="Elbow Connector 39">
            <a:extLst>
              <a:ext uri="{FF2B5EF4-FFF2-40B4-BE49-F238E27FC236}">
                <a16:creationId xmlns:a16="http://schemas.microsoft.com/office/drawing/2014/main" id="{3002D91C-B9A9-AFF2-4283-812033AE71BD}"/>
              </a:ext>
            </a:extLst>
          </p:cNvPr>
          <p:cNvCxnSpPr>
            <a:cxnSpLocks/>
            <a:stCxn id="15" idx="2"/>
            <a:endCxn id="18" idx="0"/>
          </p:cNvCxnSpPr>
          <p:nvPr/>
        </p:nvCxnSpPr>
        <p:spPr>
          <a:xfrm rot="5400000">
            <a:off x="9684250" y="2039658"/>
            <a:ext cx="802911" cy="1507490"/>
          </a:xfrm>
          <a:prstGeom prst="bentConnector3">
            <a:avLst>
              <a:gd name="adj1" fmla="val 50000"/>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C87CE5A0-8ACB-E935-6333-F3156C01CC97}"/>
              </a:ext>
            </a:extLst>
          </p:cNvPr>
          <p:cNvPicPr>
            <a:picLocks noChangeAspect="1"/>
          </p:cNvPicPr>
          <p:nvPr/>
        </p:nvPicPr>
        <p:blipFill>
          <a:blip r:embed="rId10"/>
          <a:stretch>
            <a:fillRect/>
          </a:stretch>
        </p:blipFill>
        <p:spPr>
          <a:xfrm>
            <a:off x="1593788" y="1359319"/>
            <a:ext cx="3205934" cy="3912996"/>
          </a:xfrm>
          <a:prstGeom prst="rect">
            <a:avLst/>
          </a:prstGeom>
        </p:spPr>
      </p:pic>
    </p:spTree>
    <p:custDataLst>
      <p:custData r:id="rId1"/>
    </p:custDataLst>
    <p:extLst>
      <p:ext uri="{BB962C8B-B14F-4D97-AF65-F5344CB8AC3E}">
        <p14:creationId xmlns:p14="http://schemas.microsoft.com/office/powerpoint/2010/main" val="279031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1B618A2-FB3A-6E53-8009-BDABE4F7E9AA}"/>
              </a:ext>
            </a:extLst>
          </p:cNvPr>
          <p:cNvGrpSpPr/>
          <p:nvPr/>
        </p:nvGrpSpPr>
        <p:grpSpPr>
          <a:xfrm>
            <a:off x="8122920" y="0"/>
            <a:ext cx="4069080" cy="6858000"/>
            <a:chOff x="6211018" y="0"/>
            <a:chExt cx="4069080" cy="6858000"/>
          </a:xfrm>
        </p:grpSpPr>
        <p:sp>
          <p:nvSpPr>
            <p:cNvPr id="8" name="Rectangle 7">
              <a:extLst>
                <a:ext uri="{FF2B5EF4-FFF2-40B4-BE49-F238E27FC236}">
                  <a16:creationId xmlns:a16="http://schemas.microsoft.com/office/drawing/2014/main" id="{2C720D35-96D1-2A1A-AE5B-F20FCC856639}"/>
                </a:ext>
              </a:extLst>
            </p:cNvPr>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10" name="Isosceles Triangle 9">
              <a:extLst>
                <a:ext uri="{FF2B5EF4-FFF2-40B4-BE49-F238E27FC236}">
                  <a16:creationId xmlns:a16="http://schemas.microsoft.com/office/drawing/2014/main" id="{178C436F-1494-B9C4-1E7E-ECBB5FD9FDD8}"/>
                </a:ext>
              </a:extLst>
            </p:cNvPr>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graphicFrame>
        <p:nvGraphicFramePr>
          <p:cNvPr id="9" name="Chart 8">
            <a:extLst>
              <a:ext uri="{FF2B5EF4-FFF2-40B4-BE49-F238E27FC236}">
                <a16:creationId xmlns:a16="http://schemas.microsoft.com/office/drawing/2014/main" id="{71E56FDB-4044-2957-D326-EB960F34F6A1}"/>
              </a:ext>
            </a:extLst>
          </p:cNvPr>
          <p:cNvGraphicFramePr>
            <a:graphicFrameLocks/>
          </p:cNvGraphicFramePr>
          <p:nvPr>
            <p:extLst>
              <p:ext uri="{D42A27DB-BD31-4B8C-83A1-F6EECF244321}">
                <p14:modId xmlns:p14="http://schemas.microsoft.com/office/powerpoint/2010/main" val="1995388523"/>
              </p:ext>
            </p:extLst>
          </p:nvPr>
        </p:nvGraphicFramePr>
        <p:xfrm>
          <a:off x="485776" y="1830752"/>
          <a:ext cx="7316329" cy="451829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485776" y="355601"/>
            <a:ext cx="7543800" cy="495299"/>
          </a:xfrm>
        </p:spPr>
        <p:txBody>
          <a:bodyPr/>
          <a:lstStyle/>
          <a:p>
            <a:pPr>
              <a:lnSpc>
                <a:spcPct val="90000"/>
              </a:lnSpc>
            </a:pPr>
            <a:r>
              <a:rPr lang="en-US" dirty="0"/>
              <a:t>Differences in Modeled Losses</a:t>
            </a:r>
            <a:br>
              <a:rPr lang="en-US" dirty="0"/>
            </a:br>
            <a:endParaRPr lang="en-US" dirty="0"/>
          </a:p>
        </p:txBody>
      </p:sp>
      <p:sp>
        <p:nvSpPr>
          <p:cNvPr id="3" name="Slide Number Placeholder 2"/>
          <p:cNvSpPr>
            <a:spLocks noGrp="1"/>
          </p:cNvSpPr>
          <p:nvPr>
            <p:ph type="sldNum" sz="quarter" idx="10"/>
          </p:nvPr>
        </p:nvSpPr>
        <p:spPr/>
        <p:txBody>
          <a:bodyPr/>
          <a:lstStyle/>
          <a:p>
            <a:pPr algn="r"/>
            <a:fld id="{DF66040D-6F20-4F4B-8995-856BEECD84BE}" type="slidenum">
              <a:rPr lang="en-US" smtClean="0">
                <a:solidFill>
                  <a:schemeClr val="bg1"/>
                </a:solidFill>
              </a:rPr>
              <a:pPr algn="r"/>
              <a:t>8</a:t>
            </a:fld>
            <a:endParaRPr lang="en-US" dirty="0">
              <a:solidFill>
                <a:schemeClr val="bg1"/>
              </a:solidFill>
            </a:endParaRPr>
          </a:p>
        </p:txBody>
      </p:sp>
      <p:sp>
        <p:nvSpPr>
          <p:cNvPr id="11" name="TextBox 10"/>
          <p:cNvSpPr txBox="1"/>
          <p:nvPr/>
        </p:nvSpPr>
        <p:spPr>
          <a:xfrm rot="16200000">
            <a:off x="-109295" y="3028301"/>
            <a:ext cx="978281" cy="184666"/>
          </a:xfrm>
          <a:prstGeom prst="rect">
            <a:avLst/>
          </a:prstGeom>
          <a:noFill/>
        </p:spPr>
        <p:txBody>
          <a:bodyPr wrap="none" lIns="0" tIns="0" rIns="0" bIns="0" rtlCol="0">
            <a:spAutoFit/>
          </a:bodyPr>
          <a:lstStyle/>
          <a:p>
            <a:pPr algn="l"/>
            <a:r>
              <a:rPr lang="en-US" sz="1200" dirty="0"/>
              <a:t>Difference (%)</a:t>
            </a:r>
          </a:p>
        </p:txBody>
      </p:sp>
      <p:sp>
        <p:nvSpPr>
          <p:cNvPr id="16" name="TextBox 15"/>
          <p:cNvSpPr txBox="1"/>
          <p:nvPr/>
        </p:nvSpPr>
        <p:spPr>
          <a:xfrm>
            <a:off x="2196198" y="2336121"/>
            <a:ext cx="2207586" cy="461665"/>
          </a:xfrm>
          <a:prstGeom prst="wedgeRectCallout">
            <a:avLst>
              <a:gd name="adj1" fmla="val 30805"/>
              <a:gd name="adj2" fmla="val 95070"/>
            </a:avLst>
          </a:prstGeom>
          <a:solidFill>
            <a:schemeClr val="accent2">
              <a:alpha val="85000"/>
            </a:schemeClr>
          </a:solidFill>
          <a:ln>
            <a:noFill/>
          </a:ln>
        </p:spPr>
        <p:txBody>
          <a:bodyPr wrap="square">
            <a:spAutoFit/>
          </a:bodyPr>
          <a:lstStyle>
            <a:defPPr>
              <a:defRPr lang="en-GB"/>
            </a:defPPr>
            <a:lvl1pPr>
              <a:defRPr sz="1600">
                <a:solidFill>
                  <a:schemeClr val="bg1"/>
                </a:solidFill>
              </a:defRPr>
            </a:lvl1pPr>
          </a:lstStyle>
          <a:p>
            <a:r>
              <a:rPr lang="en-US" sz="1200" b="1" dirty="0"/>
              <a:t>The largest differences are observed for </a:t>
            </a:r>
            <a:r>
              <a:rPr lang="en-US" sz="1200" b="1" dirty="0" err="1"/>
              <a:t>Sagay</a:t>
            </a:r>
            <a:r>
              <a:rPr lang="en-US" sz="1200" b="1" dirty="0"/>
              <a:t> City</a:t>
            </a:r>
          </a:p>
        </p:txBody>
      </p:sp>
      <p:sp>
        <p:nvSpPr>
          <p:cNvPr id="27" name="TextBox 26">
            <a:extLst>
              <a:ext uri="{FF2B5EF4-FFF2-40B4-BE49-F238E27FC236}">
                <a16:creationId xmlns:a16="http://schemas.microsoft.com/office/drawing/2014/main" id="{0E4EBCFA-1528-4611-62AB-21E761CD4D73}"/>
              </a:ext>
            </a:extLst>
          </p:cNvPr>
          <p:cNvSpPr txBox="1"/>
          <p:nvPr/>
        </p:nvSpPr>
        <p:spPr>
          <a:xfrm>
            <a:off x="8419192" y="1308060"/>
            <a:ext cx="3421513" cy="3693319"/>
          </a:xfrm>
          <a:prstGeom prst="rect">
            <a:avLst/>
          </a:prstGeom>
          <a:noFill/>
        </p:spPr>
        <p:txBody>
          <a:bodyPr wrap="square" lIns="0" tIns="0" rIns="0" bIns="0" rtlCol="0">
            <a:spAutoFit/>
          </a:bodyPr>
          <a:lstStyle/>
          <a:p>
            <a:pPr algn="l"/>
            <a:r>
              <a:rPr lang="en-US" sz="2000" b="1" dirty="0">
                <a:solidFill>
                  <a:schemeClr val="bg1"/>
                </a:solidFill>
              </a:rPr>
              <a:t>Losses are estimated to three progressively smaller regions of the Philippines using a catastrophe model &amp; existing data sources</a:t>
            </a:r>
          </a:p>
          <a:p>
            <a:pPr algn="l"/>
            <a:endParaRPr lang="en-US" sz="2000" b="1" dirty="0">
              <a:solidFill>
                <a:schemeClr val="bg1"/>
              </a:solidFill>
            </a:endParaRPr>
          </a:p>
          <a:p>
            <a:pPr algn="l"/>
            <a:r>
              <a:rPr lang="en-US" sz="2000" b="1" dirty="0">
                <a:solidFill>
                  <a:schemeClr val="bg1"/>
                </a:solidFill>
              </a:rPr>
              <a:t>The presence of mangroves results in less damage during topical cyclones; we expect a corresponding reduction in insurance premiums</a:t>
            </a:r>
          </a:p>
        </p:txBody>
      </p:sp>
      <p:sp>
        <p:nvSpPr>
          <p:cNvPr id="28" name="TextBox 27">
            <a:extLst>
              <a:ext uri="{FF2B5EF4-FFF2-40B4-BE49-F238E27FC236}">
                <a16:creationId xmlns:a16="http://schemas.microsoft.com/office/drawing/2014/main" id="{995C520B-2FFC-534B-1504-B1C428525970}"/>
              </a:ext>
            </a:extLst>
          </p:cNvPr>
          <p:cNvSpPr txBox="1"/>
          <p:nvPr/>
        </p:nvSpPr>
        <p:spPr>
          <a:xfrm>
            <a:off x="1130060" y="1461420"/>
            <a:ext cx="6547449" cy="369332"/>
          </a:xfrm>
          <a:prstGeom prst="rect">
            <a:avLst/>
          </a:prstGeom>
          <a:noFill/>
        </p:spPr>
        <p:txBody>
          <a:bodyPr wrap="square" lIns="0" tIns="0" rIns="0" bIns="0" rtlCol="0">
            <a:spAutoFit/>
          </a:bodyPr>
          <a:lstStyle/>
          <a:p>
            <a:pPr algn="ctr"/>
            <a:r>
              <a:rPr lang="en-US" sz="1200" b="1" dirty="0"/>
              <a:t>Difference in Modeled Loss (as a %) between Baseline and Mangroves Removed Scenarios at varying return periods</a:t>
            </a:r>
          </a:p>
        </p:txBody>
      </p:sp>
    </p:spTree>
    <p:extLst>
      <p:ext uri="{BB962C8B-B14F-4D97-AF65-F5344CB8AC3E}">
        <p14:creationId xmlns:p14="http://schemas.microsoft.com/office/powerpoint/2010/main" val="527701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28F23F0-0444-4E59-A487-0D1EF816654D}"/>
              </a:ext>
            </a:extLst>
          </p:cNvPr>
          <p:cNvGrpSpPr/>
          <p:nvPr/>
        </p:nvGrpSpPr>
        <p:grpSpPr>
          <a:xfrm>
            <a:off x="8122920" y="0"/>
            <a:ext cx="4069080" cy="6858000"/>
            <a:chOff x="6211018" y="0"/>
            <a:chExt cx="4069080" cy="6858000"/>
          </a:xfrm>
        </p:grpSpPr>
        <p:sp>
          <p:nvSpPr>
            <p:cNvPr id="8" name="Rectangle 7">
              <a:extLst>
                <a:ext uri="{FF2B5EF4-FFF2-40B4-BE49-F238E27FC236}">
                  <a16:creationId xmlns:a16="http://schemas.microsoft.com/office/drawing/2014/main" id="{B67148DE-24B5-B2CC-BFE3-DE7A0CC3AF46}"/>
                </a:ext>
              </a:extLst>
            </p:cNvPr>
            <p:cNvSpPr/>
            <p:nvPr/>
          </p:nvSpPr>
          <p:spPr>
            <a:xfrm>
              <a:off x="6211018" y="0"/>
              <a:ext cx="4069080"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9" name="Isosceles Triangle 8">
              <a:extLst>
                <a:ext uri="{FF2B5EF4-FFF2-40B4-BE49-F238E27FC236}">
                  <a16:creationId xmlns:a16="http://schemas.microsoft.com/office/drawing/2014/main" id="{18FC9808-230D-64FA-D7F5-D1EA802AC249}"/>
                </a:ext>
              </a:extLst>
            </p:cNvPr>
            <p:cNvSpPr/>
            <p:nvPr/>
          </p:nvSpPr>
          <p:spPr>
            <a:xfrm rot="5400000">
              <a:off x="6156347" y="1606140"/>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26" name="TextBox 25">
            <a:extLst>
              <a:ext uri="{FF2B5EF4-FFF2-40B4-BE49-F238E27FC236}">
                <a16:creationId xmlns:a16="http://schemas.microsoft.com/office/drawing/2014/main" id="{BF69850D-BB4F-98F9-5870-CE84597D51FE}"/>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n-US" sz="800" b="0" i="0" u="none" strike="noStrike" kern="0" cap="none" spc="0" normalizeH="0" baseline="0" noProof="0" dirty="0">
              <a:ln>
                <a:noFill/>
              </a:ln>
              <a:solidFill>
                <a:srgbClr val="FFFFFF"/>
              </a:solidFill>
              <a:effectLst/>
              <a:uLnTx/>
              <a:uFillTx/>
            </a:endParaRPr>
          </a:p>
        </p:txBody>
      </p:sp>
      <p:sp>
        <p:nvSpPr>
          <p:cNvPr id="27" name="TextBox 26">
            <a:extLst>
              <a:ext uri="{FF2B5EF4-FFF2-40B4-BE49-F238E27FC236}">
                <a16:creationId xmlns:a16="http://schemas.microsoft.com/office/drawing/2014/main" id="{77FBA4A6-5D3E-088C-4374-11CE4C372B32}"/>
              </a:ext>
            </a:extLst>
          </p:cNvPr>
          <p:cNvSpPr txBox="1"/>
          <p:nvPr/>
        </p:nvSpPr>
        <p:spPr>
          <a:xfrm>
            <a:off x="8419192" y="1308060"/>
            <a:ext cx="3525158" cy="3385542"/>
          </a:xfrm>
          <a:prstGeom prst="rect">
            <a:avLst/>
          </a:prstGeom>
          <a:noFill/>
        </p:spPr>
        <p:txBody>
          <a:bodyPr wrap="square" lIns="0" tIns="0" rIns="0" bIns="0" rtlCol="0">
            <a:spAutoFit/>
          </a:bodyPr>
          <a:lstStyle/>
          <a:p>
            <a:r>
              <a:rPr lang="en-US" sz="2000" b="1" dirty="0">
                <a:solidFill>
                  <a:schemeClr val="bg1"/>
                </a:solidFill>
              </a:rPr>
              <a:t>Parametric solutions are built to transfer the risk for each geographic region under Baseline &amp; Mangroves Removed Scenarios</a:t>
            </a:r>
          </a:p>
          <a:p>
            <a:pPr algn="l"/>
            <a:endParaRPr lang="en-US" sz="2000" b="1" dirty="0">
              <a:solidFill>
                <a:schemeClr val="bg1"/>
              </a:solidFill>
            </a:endParaRPr>
          </a:p>
          <a:p>
            <a:pPr algn="l"/>
            <a:r>
              <a:rPr lang="en-US" sz="2000" b="1" dirty="0">
                <a:solidFill>
                  <a:schemeClr val="bg1"/>
                </a:solidFill>
              </a:rPr>
              <a:t>For illustration, we define a parametric insurance structure and show the price difference at the attachment &amp; exhaustion points</a:t>
            </a:r>
          </a:p>
        </p:txBody>
      </p:sp>
      <p:sp>
        <p:nvSpPr>
          <p:cNvPr id="2" name="Title 1">
            <a:extLst>
              <a:ext uri="{FF2B5EF4-FFF2-40B4-BE49-F238E27FC236}">
                <a16:creationId xmlns:a16="http://schemas.microsoft.com/office/drawing/2014/main" id="{55356635-AA78-E483-3333-796DA28FEE08}"/>
              </a:ext>
            </a:extLst>
          </p:cNvPr>
          <p:cNvSpPr>
            <a:spLocks noGrp="1"/>
          </p:cNvSpPr>
          <p:nvPr>
            <p:ph type="title"/>
          </p:nvPr>
        </p:nvSpPr>
        <p:spPr/>
        <p:txBody>
          <a:bodyPr/>
          <a:lstStyle/>
          <a:p>
            <a:r>
              <a:rPr lang="en-US" dirty="0"/>
              <a:t>Example Insurance Layer</a:t>
            </a:r>
          </a:p>
        </p:txBody>
      </p:sp>
      <p:pic>
        <p:nvPicPr>
          <p:cNvPr id="14" name="Picture 13" descr="A graph of a graph showing the return period&#10;&#10;Description automatically generated with medium confidence">
            <a:extLst>
              <a:ext uri="{FF2B5EF4-FFF2-40B4-BE49-F238E27FC236}">
                <a16:creationId xmlns:a16="http://schemas.microsoft.com/office/drawing/2014/main" id="{58F4D90D-CDC3-2B9F-6BEC-7FBC497985EF}"/>
              </a:ext>
            </a:extLst>
          </p:cNvPr>
          <p:cNvPicPr>
            <a:picLocks noChangeAspect="1"/>
          </p:cNvPicPr>
          <p:nvPr/>
        </p:nvPicPr>
        <p:blipFill>
          <a:blip r:embed="rId3"/>
          <a:stretch>
            <a:fillRect/>
          </a:stretch>
        </p:blipFill>
        <p:spPr>
          <a:xfrm>
            <a:off x="967189" y="975232"/>
            <a:ext cx="5611239" cy="3334898"/>
          </a:xfrm>
          <a:prstGeom prst="rect">
            <a:avLst/>
          </a:prstGeom>
        </p:spPr>
      </p:pic>
      <p:pic>
        <p:nvPicPr>
          <p:cNvPr id="15" name="Picture 14" descr="A graph with a line&#10;&#10;Description automatically generated">
            <a:extLst>
              <a:ext uri="{FF2B5EF4-FFF2-40B4-BE49-F238E27FC236}">
                <a16:creationId xmlns:a16="http://schemas.microsoft.com/office/drawing/2014/main" id="{C8839F44-CFDD-1548-278E-AE9959BAE55E}"/>
              </a:ext>
            </a:extLst>
          </p:cNvPr>
          <p:cNvPicPr>
            <a:picLocks noChangeAspect="1"/>
          </p:cNvPicPr>
          <p:nvPr/>
        </p:nvPicPr>
        <p:blipFill rotWithShape="1">
          <a:blip r:embed="rId4"/>
          <a:srcRect b="6438"/>
          <a:stretch/>
        </p:blipFill>
        <p:spPr>
          <a:xfrm>
            <a:off x="853886" y="4141193"/>
            <a:ext cx="5741206" cy="2361206"/>
          </a:xfrm>
          <a:prstGeom prst="rect">
            <a:avLst/>
          </a:prstGeom>
        </p:spPr>
      </p:pic>
      <p:sp>
        <p:nvSpPr>
          <p:cNvPr id="30" name="Rectangle 29">
            <a:extLst>
              <a:ext uri="{FF2B5EF4-FFF2-40B4-BE49-F238E27FC236}">
                <a16:creationId xmlns:a16="http://schemas.microsoft.com/office/drawing/2014/main" id="{7A0AD7B4-64D8-EF2C-B536-EA6251D79699}"/>
              </a:ext>
            </a:extLst>
          </p:cNvPr>
          <p:cNvSpPr/>
          <p:nvPr/>
        </p:nvSpPr>
        <p:spPr>
          <a:xfrm flipV="1">
            <a:off x="1378670" y="2227829"/>
            <a:ext cx="5063783" cy="690069"/>
          </a:xfrm>
          <a:prstGeom prst="rect">
            <a:avLst/>
          </a:prstGeom>
          <a:solidFill>
            <a:schemeClr val="tx1">
              <a:lumMod val="25000"/>
              <a:lumOff val="75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cxnSp>
        <p:nvCxnSpPr>
          <p:cNvPr id="16" name="Straight Arrow Connector 15">
            <a:extLst>
              <a:ext uri="{FF2B5EF4-FFF2-40B4-BE49-F238E27FC236}">
                <a16:creationId xmlns:a16="http://schemas.microsoft.com/office/drawing/2014/main" id="{B7C122B4-01DC-7176-BA92-07B7E13440A6}"/>
              </a:ext>
            </a:extLst>
          </p:cNvPr>
          <p:cNvCxnSpPr>
            <a:cxnSpLocks/>
          </p:cNvCxnSpPr>
          <p:nvPr/>
        </p:nvCxnSpPr>
        <p:spPr>
          <a:xfrm>
            <a:off x="2397914" y="2917899"/>
            <a:ext cx="0" cy="3136359"/>
          </a:xfrm>
          <a:prstGeom prst="straightConnector1">
            <a:avLst/>
          </a:prstGeom>
          <a:ln w="2540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1E3C910C-A724-099E-D534-7563F660C755}"/>
              </a:ext>
            </a:extLst>
          </p:cNvPr>
          <p:cNvCxnSpPr>
            <a:cxnSpLocks/>
            <a:endCxn id="44" idx="4"/>
          </p:cNvCxnSpPr>
          <p:nvPr/>
        </p:nvCxnSpPr>
        <p:spPr>
          <a:xfrm>
            <a:off x="3418401" y="2227830"/>
            <a:ext cx="0" cy="3963588"/>
          </a:xfrm>
          <a:prstGeom prst="straightConnector1">
            <a:avLst/>
          </a:prstGeom>
          <a:ln w="2540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13656184-DAE5-BA7F-5C8B-A4D1948EE728}"/>
              </a:ext>
            </a:extLst>
          </p:cNvPr>
          <p:cNvCxnSpPr>
            <a:cxnSpLocks/>
          </p:cNvCxnSpPr>
          <p:nvPr/>
        </p:nvCxnSpPr>
        <p:spPr>
          <a:xfrm>
            <a:off x="2541738" y="2917319"/>
            <a:ext cx="0" cy="3126504"/>
          </a:xfrm>
          <a:prstGeom prst="straightConnector1">
            <a:avLst/>
          </a:prstGeom>
          <a:ln w="25400">
            <a:solidFill>
              <a:srgbClr val="004C6C"/>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B1DF2987-E4B6-42F3-312D-5030366E5B58}"/>
              </a:ext>
            </a:extLst>
          </p:cNvPr>
          <p:cNvCxnSpPr>
            <a:cxnSpLocks/>
            <a:endCxn id="38" idx="4"/>
          </p:cNvCxnSpPr>
          <p:nvPr/>
        </p:nvCxnSpPr>
        <p:spPr>
          <a:xfrm>
            <a:off x="3843210" y="2227830"/>
            <a:ext cx="0" cy="3969875"/>
          </a:xfrm>
          <a:prstGeom prst="straightConnector1">
            <a:avLst/>
          </a:prstGeom>
          <a:ln w="25400">
            <a:solidFill>
              <a:srgbClr val="004C6C"/>
            </a:solidFill>
            <a:tailEnd type="none"/>
          </a:ln>
          <a:effectLst/>
        </p:spPr>
        <p:style>
          <a:lnRef idx="2">
            <a:schemeClr val="accent1"/>
          </a:lnRef>
          <a:fillRef idx="0">
            <a:schemeClr val="accent1"/>
          </a:fillRef>
          <a:effectRef idx="1">
            <a:schemeClr val="accent1"/>
          </a:effectRef>
          <a:fontRef idx="minor">
            <a:schemeClr val="tx1"/>
          </a:fontRef>
        </p:style>
      </p:cxnSp>
      <p:sp>
        <p:nvSpPr>
          <p:cNvPr id="38" name="Oval 37">
            <a:extLst>
              <a:ext uri="{FF2B5EF4-FFF2-40B4-BE49-F238E27FC236}">
                <a16:creationId xmlns:a16="http://schemas.microsoft.com/office/drawing/2014/main" id="{6B6F3D4C-E137-A677-D2C2-EE6294DCC656}"/>
              </a:ext>
            </a:extLst>
          </p:cNvPr>
          <p:cNvSpPr/>
          <p:nvPr/>
        </p:nvSpPr>
        <p:spPr>
          <a:xfrm>
            <a:off x="3774630" y="6060545"/>
            <a:ext cx="137160" cy="137160"/>
          </a:xfrm>
          <a:prstGeom prst="ellipse">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40" name="Oval 39">
            <a:extLst>
              <a:ext uri="{FF2B5EF4-FFF2-40B4-BE49-F238E27FC236}">
                <a16:creationId xmlns:a16="http://schemas.microsoft.com/office/drawing/2014/main" id="{7078E4A6-2781-9CF9-3072-1E4AA48222BB}"/>
              </a:ext>
            </a:extLst>
          </p:cNvPr>
          <p:cNvSpPr/>
          <p:nvPr/>
        </p:nvSpPr>
        <p:spPr>
          <a:xfrm>
            <a:off x="2476756" y="5991965"/>
            <a:ext cx="137160" cy="137160"/>
          </a:xfrm>
          <a:prstGeom prst="ellipse">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42" name="Oval 41">
            <a:extLst>
              <a:ext uri="{FF2B5EF4-FFF2-40B4-BE49-F238E27FC236}">
                <a16:creationId xmlns:a16="http://schemas.microsoft.com/office/drawing/2014/main" id="{688B17EC-D8E9-F003-E528-147928F7B7AA}"/>
              </a:ext>
            </a:extLst>
          </p:cNvPr>
          <p:cNvSpPr/>
          <p:nvPr/>
        </p:nvSpPr>
        <p:spPr>
          <a:xfrm>
            <a:off x="2329334" y="5975243"/>
            <a:ext cx="137160" cy="137160"/>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44" name="Oval 43">
            <a:extLst>
              <a:ext uri="{FF2B5EF4-FFF2-40B4-BE49-F238E27FC236}">
                <a16:creationId xmlns:a16="http://schemas.microsoft.com/office/drawing/2014/main" id="{EF08C0D7-8560-4FE3-C31C-D6BFF01706BB}"/>
              </a:ext>
            </a:extLst>
          </p:cNvPr>
          <p:cNvSpPr/>
          <p:nvPr/>
        </p:nvSpPr>
        <p:spPr>
          <a:xfrm>
            <a:off x="3349821" y="6054258"/>
            <a:ext cx="137160" cy="137160"/>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23" name="TextBox 22">
            <a:extLst>
              <a:ext uri="{FF2B5EF4-FFF2-40B4-BE49-F238E27FC236}">
                <a16:creationId xmlns:a16="http://schemas.microsoft.com/office/drawing/2014/main" id="{042E20F3-56EE-8681-7AA2-180DF04D03D2}"/>
              </a:ext>
            </a:extLst>
          </p:cNvPr>
          <p:cNvSpPr txBox="1"/>
          <p:nvPr/>
        </p:nvSpPr>
        <p:spPr>
          <a:xfrm>
            <a:off x="1436282" y="2257794"/>
            <a:ext cx="1478239" cy="553998"/>
          </a:xfrm>
          <a:prstGeom prst="rect">
            <a:avLst/>
          </a:prstGeom>
          <a:noFill/>
        </p:spPr>
        <p:txBody>
          <a:bodyPr wrap="square" lIns="0" tIns="0" rIns="0" bIns="0" rtlCol="0">
            <a:spAutoFit/>
          </a:bodyPr>
          <a:lstStyle/>
          <a:p>
            <a:pPr algn="l"/>
            <a:r>
              <a:rPr lang="en-US" b="1" dirty="0">
                <a:solidFill>
                  <a:schemeClr val="tx1">
                    <a:lumMod val="75000"/>
                    <a:lumOff val="25000"/>
                  </a:schemeClr>
                </a:solidFill>
              </a:rPr>
              <a:t>Insurance Layer</a:t>
            </a:r>
          </a:p>
        </p:txBody>
      </p:sp>
      <p:pic>
        <p:nvPicPr>
          <p:cNvPr id="24" name="Picture 23" descr="A graph with a line&#10;&#10;Description automatically generated">
            <a:extLst>
              <a:ext uri="{FF2B5EF4-FFF2-40B4-BE49-F238E27FC236}">
                <a16:creationId xmlns:a16="http://schemas.microsoft.com/office/drawing/2014/main" id="{5B1F50F0-203D-59DC-0AAE-2FDBD47ED646}"/>
              </a:ext>
            </a:extLst>
          </p:cNvPr>
          <p:cNvPicPr>
            <a:picLocks noChangeAspect="1"/>
          </p:cNvPicPr>
          <p:nvPr/>
        </p:nvPicPr>
        <p:blipFill rotWithShape="1">
          <a:blip r:embed="rId4"/>
          <a:srcRect l="36182" t="91390"/>
          <a:stretch/>
        </p:blipFill>
        <p:spPr>
          <a:xfrm>
            <a:off x="2914521" y="6437466"/>
            <a:ext cx="3663907" cy="217279"/>
          </a:xfrm>
          <a:prstGeom prst="rect">
            <a:avLst/>
          </a:prstGeom>
        </p:spPr>
      </p:pic>
      <p:sp>
        <p:nvSpPr>
          <p:cNvPr id="25" name="TextBox 24">
            <a:extLst>
              <a:ext uri="{FF2B5EF4-FFF2-40B4-BE49-F238E27FC236}">
                <a16:creationId xmlns:a16="http://schemas.microsoft.com/office/drawing/2014/main" id="{5E4B2048-F2AB-DF84-AE47-A717B2FC9A6E}"/>
              </a:ext>
            </a:extLst>
          </p:cNvPr>
          <p:cNvSpPr txBox="1"/>
          <p:nvPr/>
        </p:nvSpPr>
        <p:spPr>
          <a:xfrm>
            <a:off x="5547524" y="2719631"/>
            <a:ext cx="844783" cy="184666"/>
          </a:xfrm>
          <a:prstGeom prst="rect">
            <a:avLst/>
          </a:prstGeom>
          <a:noFill/>
        </p:spPr>
        <p:txBody>
          <a:bodyPr wrap="none" lIns="0" tIns="0" rIns="0" bIns="0" rtlCol="0">
            <a:spAutoFit/>
          </a:bodyPr>
          <a:lstStyle>
            <a:defPPr>
              <a:defRPr lang="en-GB"/>
            </a:defPPr>
            <a:lvl1pPr>
              <a:defRPr b="1">
                <a:solidFill>
                  <a:schemeClr val="tx1">
                    <a:lumMod val="75000"/>
                    <a:lumOff val="25000"/>
                  </a:schemeClr>
                </a:solidFill>
              </a:defRPr>
            </a:lvl1pPr>
          </a:lstStyle>
          <a:p>
            <a:r>
              <a:rPr lang="en-US" sz="1200" dirty="0"/>
              <a:t>Attachment</a:t>
            </a:r>
          </a:p>
        </p:txBody>
      </p:sp>
      <p:sp>
        <p:nvSpPr>
          <p:cNvPr id="28" name="TextBox 27">
            <a:extLst>
              <a:ext uri="{FF2B5EF4-FFF2-40B4-BE49-F238E27FC236}">
                <a16:creationId xmlns:a16="http://schemas.microsoft.com/office/drawing/2014/main" id="{5F1FF7B1-B040-474E-DDD2-AE70A9E38310}"/>
              </a:ext>
            </a:extLst>
          </p:cNvPr>
          <p:cNvSpPr txBox="1"/>
          <p:nvPr/>
        </p:nvSpPr>
        <p:spPr>
          <a:xfrm>
            <a:off x="5561951" y="2039020"/>
            <a:ext cx="830356" cy="184666"/>
          </a:xfrm>
          <a:prstGeom prst="rect">
            <a:avLst/>
          </a:prstGeom>
          <a:noFill/>
        </p:spPr>
        <p:txBody>
          <a:bodyPr wrap="none" lIns="0" tIns="0" rIns="0" bIns="0" rtlCol="0">
            <a:spAutoFit/>
          </a:bodyPr>
          <a:lstStyle>
            <a:defPPr>
              <a:defRPr lang="en-GB"/>
            </a:defPPr>
            <a:lvl1pPr>
              <a:defRPr b="1">
                <a:solidFill>
                  <a:schemeClr val="tx1">
                    <a:lumMod val="75000"/>
                    <a:lumOff val="25000"/>
                  </a:schemeClr>
                </a:solidFill>
              </a:defRPr>
            </a:lvl1pPr>
          </a:lstStyle>
          <a:p>
            <a:r>
              <a:rPr lang="en-US" sz="1200" dirty="0"/>
              <a:t>Exhaustion</a:t>
            </a:r>
          </a:p>
        </p:txBody>
      </p:sp>
      <p:cxnSp>
        <p:nvCxnSpPr>
          <p:cNvPr id="29" name="Straight Connector 28">
            <a:extLst>
              <a:ext uri="{FF2B5EF4-FFF2-40B4-BE49-F238E27FC236}">
                <a16:creationId xmlns:a16="http://schemas.microsoft.com/office/drawing/2014/main" id="{329486FB-E95D-DA3F-25E1-5C5D9A1F89D8}"/>
              </a:ext>
            </a:extLst>
          </p:cNvPr>
          <p:cNvCxnSpPr>
            <a:cxnSpLocks/>
          </p:cNvCxnSpPr>
          <p:nvPr/>
        </p:nvCxnSpPr>
        <p:spPr>
          <a:xfrm>
            <a:off x="1378670" y="2917899"/>
            <a:ext cx="5063783" cy="0"/>
          </a:xfrm>
          <a:prstGeom prst="line">
            <a:avLst/>
          </a:prstGeom>
          <a:ln w="19050">
            <a:solidFill>
              <a:schemeClr val="accent5"/>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34E8F552-EDE2-BABF-C4C6-2CCD5857EF6C}"/>
              </a:ext>
            </a:extLst>
          </p:cNvPr>
          <p:cNvCxnSpPr>
            <a:cxnSpLocks/>
          </p:cNvCxnSpPr>
          <p:nvPr/>
        </p:nvCxnSpPr>
        <p:spPr>
          <a:xfrm>
            <a:off x="1390604" y="2231005"/>
            <a:ext cx="5063783" cy="0"/>
          </a:xfrm>
          <a:prstGeom prst="line">
            <a:avLst/>
          </a:prstGeom>
          <a:ln w="19050">
            <a:solidFill>
              <a:schemeClr val="accent5"/>
            </a:solidFill>
            <a:prstDash val="dash"/>
          </a:ln>
          <a:effectLst/>
        </p:spPr>
        <p:style>
          <a:lnRef idx="2">
            <a:schemeClr val="accent1"/>
          </a:lnRef>
          <a:fillRef idx="0">
            <a:schemeClr val="accent1"/>
          </a:fillRef>
          <a:effectRef idx="1">
            <a:schemeClr val="accent1"/>
          </a:effectRef>
          <a:fontRef idx="minor">
            <a:schemeClr val="tx1"/>
          </a:fontRef>
        </p:style>
      </p:cxnSp>
      <p:sp>
        <p:nvSpPr>
          <p:cNvPr id="3" name="Rectangle 2">
            <a:extLst>
              <a:ext uri="{FF2B5EF4-FFF2-40B4-BE49-F238E27FC236}">
                <a16:creationId xmlns:a16="http://schemas.microsoft.com/office/drawing/2014/main" id="{ACEEEED5-1592-AB11-4FC8-89A8CEAD2DA1}"/>
              </a:ext>
            </a:extLst>
          </p:cNvPr>
          <p:cNvSpPr/>
          <p:nvPr/>
        </p:nvSpPr>
        <p:spPr>
          <a:xfrm>
            <a:off x="819159" y="4141193"/>
            <a:ext cx="496341" cy="21769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4" name="TextBox 3">
            <a:extLst>
              <a:ext uri="{FF2B5EF4-FFF2-40B4-BE49-F238E27FC236}">
                <a16:creationId xmlns:a16="http://schemas.microsoft.com/office/drawing/2014/main" id="{AA175D38-1944-1932-38D0-70D6AB7E0A7C}"/>
              </a:ext>
            </a:extLst>
          </p:cNvPr>
          <p:cNvSpPr txBox="1"/>
          <p:nvPr/>
        </p:nvSpPr>
        <p:spPr>
          <a:xfrm rot="16200000">
            <a:off x="915295" y="5199131"/>
            <a:ext cx="349455" cy="184666"/>
          </a:xfrm>
          <a:prstGeom prst="rect">
            <a:avLst/>
          </a:prstGeom>
          <a:solidFill>
            <a:schemeClr val="bg1"/>
          </a:solidFill>
        </p:spPr>
        <p:txBody>
          <a:bodyPr wrap="none" lIns="0" tIns="0" rIns="0" bIns="0" rtlCol="0">
            <a:spAutoFit/>
          </a:bodyPr>
          <a:lstStyle/>
          <a:p>
            <a:pPr algn="l"/>
            <a:r>
              <a:rPr lang="en-US" sz="1200" dirty="0"/>
              <a:t>Price</a:t>
            </a:r>
          </a:p>
        </p:txBody>
      </p:sp>
      <p:cxnSp>
        <p:nvCxnSpPr>
          <p:cNvPr id="6" name="Straight Arrow Connector 5">
            <a:extLst>
              <a:ext uri="{FF2B5EF4-FFF2-40B4-BE49-F238E27FC236}">
                <a16:creationId xmlns:a16="http://schemas.microsoft.com/office/drawing/2014/main" id="{3C3F5740-3C48-4DCE-F6E7-D84C3425EF64}"/>
              </a:ext>
            </a:extLst>
          </p:cNvPr>
          <p:cNvCxnSpPr>
            <a:cxnSpLocks/>
          </p:cNvCxnSpPr>
          <p:nvPr/>
        </p:nvCxnSpPr>
        <p:spPr>
          <a:xfrm flipV="1">
            <a:off x="1093222" y="4678809"/>
            <a:ext cx="0" cy="392603"/>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Speech Bubble: Rectangle 6">
            <a:extLst>
              <a:ext uri="{FF2B5EF4-FFF2-40B4-BE49-F238E27FC236}">
                <a16:creationId xmlns:a16="http://schemas.microsoft.com/office/drawing/2014/main" id="{A9A801B8-19FE-BA1F-C0E2-F9E9A6C04BDB}"/>
              </a:ext>
            </a:extLst>
          </p:cNvPr>
          <p:cNvSpPr/>
          <p:nvPr/>
        </p:nvSpPr>
        <p:spPr>
          <a:xfrm>
            <a:off x="4169561" y="4678809"/>
            <a:ext cx="1926435" cy="646331"/>
          </a:xfrm>
          <a:prstGeom prst="wedgeRectCallout">
            <a:avLst>
              <a:gd name="adj1" fmla="val -66107"/>
              <a:gd name="adj2" fmla="val 21943"/>
            </a:avLst>
          </a:prstGeom>
          <a:solidFill>
            <a:schemeClr val="accent2">
              <a:alpha val="85000"/>
            </a:schemeClr>
          </a:solidFill>
          <a:ln>
            <a:noFill/>
          </a:ln>
        </p:spPr>
        <p:txBody>
          <a:bodyPr wrap="square">
            <a:spAutoFit/>
          </a:bodyPr>
          <a:lstStyle/>
          <a:p>
            <a:r>
              <a:rPr lang="en-US" sz="1200" b="1" dirty="0">
                <a:solidFill>
                  <a:schemeClr val="bg1"/>
                </a:solidFill>
              </a:rPr>
              <a:t>Price with mangroves is lower than the price without mangroves</a:t>
            </a:r>
          </a:p>
        </p:txBody>
      </p:sp>
    </p:spTree>
    <p:extLst>
      <p:ext uri="{BB962C8B-B14F-4D97-AF65-F5344CB8AC3E}">
        <p14:creationId xmlns:p14="http://schemas.microsoft.com/office/powerpoint/2010/main" val="795699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COA_TEMPLATE" val="MMC2021.Classic16x9"/>
  <p:tag name="MMCOA_TEMPLATEVERSION" val="9.0"/>
  <p:tag name="MMCOA_UI_LANGUAGE" val="en-US"/>
  <p:tag name="MMCOA_BASECO" val="GUY"/>
  <p:tag name="MMCOA_BRAND" val="MMC2021"/>
  <p:tag name="MMCOA_FEATURESET" val="GUY_2021_v1"/>
  <p:tag name="MMCOA_LANGUAGE" val="en-US"/>
  <p:tag name="MMCOA_LANGUAGEDATEFORMAT" val="MMMM dd, yyyy"/>
  <p:tag name="MMCOA_LANGUAGELOCALE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O P U L A T E T E X T " > { T i t l e } < / P r e s e n t a t i o n O b j e c t T a g >  
 < / M M C O A _ O b j e c t T a g s > 
</file>

<file path=customXml/item10.xml>��< ? x m l   v e r s i o n = " 1 . 0 "   e n c o d i n g = " u t f - 1 6 " ? > < M M C O A _ O b j e c t T a g s   x m l n s : x s i = " h t t p : / / w w w . w 3 . o r g / 2 0 0 1 / X M L S c h e m a - i n s t a n c e "   x m l n s : x s d = " h t t p : / / w w w . w 3 . o r g / 2 0 0 1 / X M L S c h e m a " >  
     < P r e s e n t a t i o n O b j e c t T a g   T a g N a m e = " M M C 0 9 _ P O P U L A T E T E X T " > { P r e s e n t e r C o v e r T e x t B l o c k } < / P r e s e n t a t i o n O b j e c t T a g >  
 < / M M C O A _ O b j e c t T a g s > 
</file>

<file path=customXml/item11.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13.xml>��< ? x m l   v e r s i o n = " 1 . 0 "   e n c o d i n g = " u t f - 1 6 " ? > < M M C O A _ O b j e c t T a g s   x m l n s : x s i = " h t t p : / / w w w . w 3 . o r g / 2 0 0 1 / X M L S c h e m a - i n s t a n c e "   x m l n s : x s d = " h t t p : / / w w w . w 3 . o r g / 2 0 0 1 / X M L S c h e m a " >  
     < P r e s e n t a t i o n O b j e c t T a g   T a g N a m e = " M M C 0 9 _ B R A N D F O N T S T Y L E " > M a s t e r T e x t < / P r e s e n t a t i o n O b j e c t T a g >  
 < / M M C O A _ O b j e c t T a g s > 
</file>

<file path=customXml/item14.xml>��< ? x m l   v e r s i o n = " 1 . 0 "   e n c o d i n g = " u t f - 1 6 " ? > < M M C O A _ O b j e c t T a g s   x m l n s : x s i = " h t t p : / / w w w . w 3 . o r g / 2 0 0 1 / X M L S c h e m a - i n s t a n c e "   x m l n s : x s d = " h t t p : / / w w w . w 3 . o r g / 2 0 0 1 / X M L S c h e m a " >  
     < P r e s e n t a t i o n O b j e c t T a g   T a g N a m e = " M M C 0 9 _ B R A N D F O N T S T Y L E " > M a s t e r T e x t < / P r e s e n t a t i o n O b j e c t T a g >  
 < / M M C O A _ O b j e c t T a g s > 
</file>

<file path=customXml/item15.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16.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17.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18.xml>��< ? x m l   v e r s i o n = " 1 . 0 "   e n c o d i n g = " u t f - 1 6 " ? > < M M C O A _ O b j e c t T a g s   x m l n s : x s i = " h t t p : / / w w w . w 3 . o r g / 2 0 0 1 / X M L S c h e m a - i n s t a n c e "   x m l n s : x s d = " h t t p : / / w w w . w 3 . o r g / 2 0 0 1 / X M L S c h e m a " >  
     < P r e s e n t a t i o n O b j e c t T a g   T a g N a m e = " M M C 0 9 _ B R A N D F O N T S T Y L E " > C o v e r T e x t < / P r e s e n t a t i o n O b j e c t T a g >  
 < / M M C O A _ O b j e c t T a g s > 
</file>

<file path=customXml/item19.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21.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22.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6 c 1 9 e 2 9 8 - 7 0 c 5 - 4 2 7 f - 8 e 3 9 - 7 b 0 f b 8 4 b 2 3 8 7 < / P r e s e n t a t i o n O b j e c t T a g >  
 < / M M C O A _ O b j e c t T a g s > 
</file>

<file path=customXml/item2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8.xml>��< ? x m l   v e r s i o n = " 1 . 0 "   e n c o d i n g = " u t f - 1 6 " ? > < M M C O A _ O b j e c t T a g s   x m l n s : x s i = " h t t p : / / w w w . w 3 . o r g / 2 0 0 1 / X M L S c h e m a - i n s t a n c e "   x m l n s : x s d = " h t t p : / / w w w . w 3 . o r g / 2 0 0 1 / X M L S c h e m a " >  
     < P r e s e n t a t i o n O b j e c t T a g   T a g N a m e = " M M C 0 9 _ L A Y O U T " > B l a n k < / P r e s e n t a t i o n O b j e c t T a g >  
 < / M M C O A _ O b j e c t T a g s > 
</file>

<file path=customXml/item2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xml>��< ? x m l   v e r s i o n = " 1 . 0 "   e n c o d i n g = " u t f - 1 6 " ? > < M M C O A _ O b j e c t T a g s   x m l n s : x s i = " h t t p : / / w w w . w 3 . o r g / 2 0 0 1 / X M L S c h e m a - i n s t a n c e "   x m l n s : x s d = " h t t p : / / w w w . w 3 . o r g / 2 0 0 1 / X M L S c h e m a " >  
     < P r e s e n t a t i o n O b j e c t T a g   T a g N a m e = " M M C 0 9 _ P O P U L A T E T E X T " > { S u b T i t l e } < / P r e s e n t a t i o n O b j e c t T a g >  
 < / M M C O A _ O b j e c t T a g s > 
</file>

<file path=customXml/item3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4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4.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45.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46.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47.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48.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49.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5.xml>��< ? x m l   v e r s i o n = " 1 . 0 "   e n c o d i n g = " u t f - 1 6 " ? > < M M C O A _ O b j e c t T a g s   x m l n s : x s i = " h t t p : / / w w w . w 3 . o r g / 2 0 0 1 / X M L S c h e m a - i n s t a n c e "   x m l n s : x s d = " h t t p : / / w w w . w 3 . o r g / 2 0 0 1 / X M L S c h e m a " >  
     < P r e s e n t a t i o n O b j e c t T a g   T a g N a m e = " M M C 0 9 _ P O P U L A T E T E X T " > { L e g a l B a c k } < / P r e s e n t a t i o n O b j e c t T a g >  
 < / M M C O A _ O b j e c t T a g s > 
</file>

<file path=customXml/item50.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51.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52.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53.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54.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55.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56.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57.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58.xml>��< ? x m l   v e r s i o n = " 1 . 0 "   e n c o d i n g = " u t f - 1 6 " ? > < M M C O A _ O b j e c t T a g s   x m l n s : x s i = " h t t p : / / w w w . w 3 . o r g / 2 0 0 1 / X M L S c h e m a - i n s t a n c e "   x m l n s : x s d = " h t t p : / / w w w . w 3 . o r g / 2 0 0 1 / X M L S c h e m a " >  
     < P r e s e n t a t i o n O b j e c t T a g   T a g N a m e = " M M C 0 9 _ P O P U L A T E T E X T " > { T i t l e } < / P r e s e n t a t i o n O b j e c t T a g >  
 < / M M C O A _ O b j e c t T a g s > 
</file>

<file path=customXml/item59.xml>��< ? x m l   v e r s i o n = " 1 . 0 "   e n c o d i n g = " u t f - 1 6 " ? > < M M C O A _ O b j e c t T a g s   x m l n s : x s i = " h t t p : / / w w w . w 3 . o r g / 2 0 0 1 / X M L S c h e m a - i n s t a n c e "   x m l n s : x s d = " h t t p : / / w w w . w 3 . o r g / 2 0 0 1 / X M L S c h e m a " >  
     < P r e s e n t a t i o n O b j e c t T a g   T a g N a m e = " M M C O A _ S A M P L E S L I D E _ I D " > 5 5 4 2 e d 9 2 - 5 5 e 7 - 4 d 9 a - b c 6 f - d 1 a 8 4 2 d 8 2 1 f 5 < / P r e s e n t a t i o n O b j e c t T a g >  
 < / M M C O A _ O b j e c t T a g s > 
</file>

<file path=customXml/item6.xml><?xml version="1.0" encoding="utf-8"?>
<ct:contentTypeSchema xmlns:ct="http://schemas.microsoft.com/office/2006/metadata/contentType" xmlns:ma="http://schemas.microsoft.com/office/2006/metadata/properties/metaAttributes" ct:_="" ma:_="" ma:contentTypeName="Document" ma:contentTypeID="0x010100E8FEFF94A7971A4D81883C31CFA75AFF" ma:contentTypeVersion="15" ma:contentTypeDescription="Create a new document." ma:contentTypeScope="" ma:versionID="e1b64d0f1f879d3b43df27f68cd9d43a">
  <xsd:schema xmlns:xsd="http://www.w3.org/2001/XMLSchema" xmlns:xs="http://www.w3.org/2001/XMLSchema" xmlns:p="http://schemas.microsoft.com/office/2006/metadata/properties" xmlns:ns3="7f0453b8-ab38-4dc1-916f-db52cb999787" xmlns:ns4="bbde8da2-f31a-44c0-a1d5-6b87fec3c76e" targetNamespace="http://schemas.microsoft.com/office/2006/metadata/properties" ma:root="true" ma:fieldsID="4efda345b8d1c7a3dd0d9845ca511496" ns3:_="" ns4:_="">
    <xsd:import namespace="7f0453b8-ab38-4dc1-916f-db52cb999787"/>
    <xsd:import namespace="bbde8da2-f31a-44c0-a1d5-6b87fec3c76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0453b8-ab38-4dc1-916f-db52cb9997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de8da2-f31a-44c0-a1d5-6b87fec3c76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0.xml>��< ? x m l   v e r s i o n = " 1 . 0 "   e n c o d i n g = " u t f - 1 6 " ? > < M M C O A _ O b j e c t T a g s   x m l n s : x s i = " h t t p : / / w w w . w 3 . o r g / 2 0 0 1 / X M L S c h e m a - i n s t a n c e "   x m l n s : x s d = " h t t p : / / w w w . w 3 . o r g / 2 0 0 1 / X M L S c h e m a " >  
     < P r e s e n t a t i o n O b j e c t T a g   T a g N a m e = " M M C O A _ S A M P L E S L I D E _ I D " > 5 5 4 2 e d 9 2 - 5 5 e 7 - 4 d 9 a - b c 6 f - d 1 a 8 4 2 d 8 2 1 f 5 < / P r e s e n t a t i o n O b j e c t T a g >  
 < / M M C O A _ O b j e c t T a g s > 
</file>

<file path=customXml/item61.xml>��< ? x m l   v e r s i o n = " 1 . 0 "   e n c o d i n g = " u t f - 1 6 " ? > < M M C O A _ O b j e c t T a g s   x m l n s : x s i = " h t t p : / / w w w . w 3 . o r g / 2 0 0 1 / X M L S c h e m a - i n s t a n c e "   x m l n s : x s d = " h t t p : / / w w w . w 3 . o r g / 2 0 0 1 / X M L S c h e m a " >  
     < P r e s e n t a t i o n O b j e c t T a g   T a g N a m e = " M M C O A _ S A M P L E S L I D E _ I D " > 5 5 4 2 e d 9 2 - 5 5 e 7 - 4 d 9 a - b c 6 f - d 1 a 8 4 2 d 8 2 1 f 5 < / P r e s e n t a t i o n O b j e c t T a g >  
 < / M M C O A _ O b j e c t T a g s > 
</file>

<file path=customXml/item62.xml>��< ? x m l   v e r s i o n = " 1 . 0 "   e n c o d i n g = " u t f - 1 6 " ? > < M M C O A _ O b j e c t T a g s   x m l n s : x s i = " h t t p : / / w w w . w 3 . o r g / 2 0 0 1 / X M L S c h e m a - i n s t a n c e "   x m l n s : x s d = " h t t p : / / w w w . w 3 . o r g / 2 0 0 1 / X M L S c h e m a " >  
     < P r e s e n t a t i o n O b j e c t T a g   T a g N a m e = " M M C 0 9 _ B R A N D S H A P E S T Y L E " > M a s t e r T i t l e < / P r e s e n t a t i o n O b j e c t T a g >  
 < / M M C O A _ O b j e c t T a g s > 
</file>

<file path=customXml/item63.xml>��< ? x m l   v e r s i o n = " 1 . 0 "   e n c o d i n g = " u t f - 1 6 " ? > < M M C O A _ O b j e c t T a g s   x m l n s : x s i = " h t t p : / / w w w . w 3 . o r g / 2 0 0 1 / X M L S c h e m a - i n s t a n c e "   x m l n s : x s d = " h t t p : / / w w w . w 3 . o r g / 2 0 0 1 / X M L S c h e m a " >  
     < P r e s e n t a t i o n O b j e c t T a g   T a g N a m e = " M M C 0 9 _ B R A N D F O N T S T Y L E " > C o v e r T e x t < / P r e s e n t a t i o n O b j e c t T a g >  
 < / M M C O A _ O b j e c t T a g s > 
</file>

<file path=customXml/item64.xml>��< ? x m l   v e r s i o n = " 1 . 0 "   e n c o d i n g = " u t f - 1 6 " ? > < M M C O A _ O b j e c t T a g s   x m l n s : x s i = " h t t p : / / w w w . w 3 . o r g / 2 0 0 1 / X M L S c h e m a - i n s t a n c e "   x m l n s : x s d = " h t t p : / / w w w . w 3 . o r g / 2 0 0 1 / X M L S c h e m a " >  
     < P r e s e n t a t i o n O b j e c t T a g   T a g N a m e = " M M C 0 9 _ B R A N D F O N T S T Y L E " > C o v e r T e x t < / P r e s e n t a t i o n O b j e c t T a g >  
     < P r e s e n t a t i o n O b j e c t T a g   T a g N a m e = " M M C 0 9 _ P O P U L A T E T E X T " > [ M M C 2 0 2 1 P P T e m p l a t e . F i r s t S l i d e W o r d i n g ] < / P r e s e n t a t i o n O b j e c t T a g >  
     < P r e s e n t a t i o n O b j e c t T a g   T a g N a m e = " M M C 0 9 _ S E T I N D E N T L E V E L S " > & g t ; < / P r e s e n t a t i o n O b j e c t T a g >  
 < / M M C O A _ O b j e c t T a g s > 
</file>

<file path=customXml/item65.xml>��< ? x m l   v e r s i o n = " 1 . 0 "   e n c o d i n g = " u t f - 1 6 " ? > < M M C O A _ O b j e c t T a g s   x m l n s : x s i = " h t t p : / / w w w . w 3 . o r g / 2 0 0 1 / X M L S c h e m a - i n s t a n c e "   x m l n s : x s d = " h t t p : / / w w w . w 3 . o r g / 2 0 0 1 / X M L S c h e m a " >  
     < P r e s e n t a t i o n O b j e c t T a g   T a g N a m e = " M M C 0 9 _ B R A N D F O N T S T Y L E " > C o v e r T e x t < / P r e s e n t a t i o n O b j e c t T a g >  
 < / M M C O A _ O b j e c t T a g s > 
</file>

<file path=customXml/item66.xml>��< ? x m l   v e r s i o n = " 1 . 0 "   e n c o d i n g = " u t f - 1 6 " ? > < M M C O A _ O b j e c t T a g s   x m l n s : x s i = " h t t p : / / w w w . w 3 . o r g / 2 0 0 1 / X M L S c h e m a - i n s t a n c e "   x m l n s : x s d = " h t t p : / / w w w . w 3 . o r g / 2 0 0 1 / X M L S c h e m a " >  
     < P r e s e n t a t i o n O b j e c t T a g   T a g N a m e = " M M C 0 9 _ B R A N D F O N T S T Y L E " > C o v e r T e x t < / P r e s e n t a t i o n O b j e c t T a g >  
 < / M M C O A _ O b j e c t T a g s > 
</file>

<file path=customXml/item67.xml>��< ? x m l   v e r s i o n = " 1 . 0 "   e n c o d i n g = " u t f - 1 6 " ? > < M M C O A _ O b j e c t T a g s   x m l n s : x s i = " h t t p : / / w w w . w 3 . o r g / 2 0 0 1 / X M L S c h e m a - i n s t a n c e "   x m l n s : x s d = " h t t p : / / w w w . w 3 . o r g / 2 0 0 1 / X M L S c h e m a " >  
     < P r e s e n t a t i o n O b j e c t T a g   T a g N a m e = " M M C O A _ B A C K G R O U N D _ D I G E S T " > s o l i d ; b l u e < / P r e s e n t a t i o n O b j e c t T a g >  
     < P r e s e n t a t i o n O b j e c t T a g   T a g N a m e = " M M C 0 9 _ A D D L O G O S " > C o n t e n t L o g o R e v e r s e , C o n t e n t L o g o , 3 8 . 2 7 , 5 1 3 . 0 7 , R E V E R S E < / P r e s e n t a t i o n O b j e c t T a g >  
     < P r e s e n t a t i o n O b j e c t T a g   T a g N a m e = " M M C O A _ S A M P L E S L I D E _ I D " > 9 b 4 8 5 0 d 5 - 0 9 a 0 - 4 5 9 a - 9 9 8 e - b 4 7 2 2 8 0 3 9 2 c e < / P r e s e n t a t i o n O b j e c t T a g >  
 < / M M C O A _ O b j e c t T a g s > 
</file>

<file path=customXml/item68.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69.xml>��< ? x m l   v e r s i o n = " 1 . 0 "   e n c o d i n g = " u t f - 1 6 " ? > < M M C O A _ O b j e c t T a g s   x m l n s : x s i = " h t t p : / / w w w . w 3 . o r g / 2 0 0 1 / X M L S c h e m a - i n s t a n c e "   x m l n s : x s d = " h t t p : / / w w w . w 3 . o r g / 2 0 0 1 / X M L S c h e m a " >  
     < P r e s e n t a t i o n O b j e c t T a g   T a g N a m e = " M M C O A _ F I L E R E F S T A T E " > H I D E < / P r e s e n t a t i o n O b j e c t T a g >  
 < / M M C O A _ O b j e c t T a g s > 
</file>

<file path=customXml/item7.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8.xml>��< ? x m l   v e r s i o n = " 1 . 0 "   e n c o d i n g = " u t f - 1 6 " ? > < M M C O A _ O b j e c t T a g s   x m l n s : x s i = " h t t p : / / w w w . w 3 . o r g / 2 0 0 1 / X M L S c h e m a - i n s t a n c e "   x m l n s : x s d = " h t t p : / / w w w . w 3 . o r g / 2 0 0 1 / X M L S c h e m a " >  
     < P r e s e n t a t i o n O b j e c t T a g   T a g N a m e = " M M C 0 9 _ S H O W H I D E C R I T E R I A " > C L I E N T _ L O G O < / P r e s e n t a t i o n O b j e c t T a g >  
 < / M M C O A _ O b j e c t T a g s > 
</file>

<file path=customXml/item9.xml><?xml version="1.0" encoding="utf-8"?>
<p:properties xmlns:p="http://schemas.microsoft.com/office/2006/metadata/properties" xmlns:xsi="http://www.w3.org/2001/XMLSchema-instance" xmlns:pc="http://schemas.microsoft.com/office/infopath/2007/PartnerControls">
  <documentManagement>
    <_activity xmlns="7f0453b8-ab38-4dc1-916f-db52cb999787" xsi:nil="true"/>
  </documentManagement>
</p:properties>
</file>

<file path=customXml/itemProps1.xml><?xml version="1.0" encoding="utf-8"?>
<ds:datastoreItem xmlns:ds="http://schemas.openxmlformats.org/officeDocument/2006/customXml" ds:itemID="{1AA08E88-52D3-4EBA-AA02-8CA9BBF557F6}">
  <ds:schemaRefs>
    <ds:schemaRef ds:uri="http://www.w3.org/2001/XMLSchema"/>
  </ds:schemaRefs>
</ds:datastoreItem>
</file>

<file path=customXml/itemProps10.xml><?xml version="1.0" encoding="utf-8"?>
<ds:datastoreItem xmlns:ds="http://schemas.openxmlformats.org/officeDocument/2006/customXml" ds:itemID="{36521F22-0186-4262-8998-4B3239F3A520}">
  <ds:schemaRefs>
    <ds:schemaRef ds:uri="http://www.w3.org/2001/XMLSchema"/>
  </ds:schemaRefs>
</ds:datastoreItem>
</file>

<file path=customXml/itemProps11.xml><?xml version="1.0" encoding="utf-8"?>
<ds:datastoreItem xmlns:ds="http://schemas.openxmlformats.org/officeDocument/2006/customXml" ds:itemID="{BD5FAD33-8996-4B98-8C02-4A1550C6E017}">
  <ds:schemaRefs>
    <ds:schemaRef ds:uri="http://www.w3.org/2001/XMLSchema"/>
  </ds:schemaRefs>
</ds:datastoreItem>
</file>

<file path=customXml/itemProps12.xml><?xml version="1.0" encoding="utf-8"?>
<ds:datastoreItem xmlns:ds="http://schemas.openxmlformats.org/officeDocument/2006/customXml" ds:itemID="{9B333AB5-3357-4D07-93E0-A8BB3B59721F}">
  <ds:schemaRefs>
    <ds:schemaRef ds:uri="http://www.w3.org/2001/XMLSchema"/>
  </ds:schemaRefs>
</ds:datastoreItem>
</file>

<file path=customXml/itemProps13.xml><?xml version="1.0" encoding="utf-8"?>
<ds:datastoreItem xmlns:ds="http://schemas.openxmlformats.org/officeDocument/2006/customXml" ds:itemID="{492FC0CD-A4A9-401E-847E-C8E616AD5CF1}">
  <ds:schemaRefs>
    <ds:schemaRef ds:uri="http://www.w3.org/2001/XMLSchema"/>
  </ds:schemaRefs>
</ds:datastoreItem>
</file>

<file path=customXml/itemProps14.xml><?xml version="1.0" encoding="utf-8"?>
<ds:datastoreItem xmlns:ds="http://schemas.openxmlformats.org/officeDocument/2006/customXml" ds:itemID="{EA56DF1C-E699-4B8D-81DA-12283D7DDD50}">
  <ds:schemaRefs>
    <ds:schemaRef ds:uri="http://www.w3.org/2001/XMLSchema"/>
  </ds:schemaRefs>
</ds:datastoreItem>
</file>

<file path=customXml/itemProps15.xml><?xml version="1.0" encoding="utf-8"?>
<ds:datastoreItem xmlns:ds="http://schemas.openxmlformats.org/officeDocument/2006/customXml" ds:itemID="{35BDC32E-13DF-4D9C-B8D4-DA872B448F48}">
  <ds:schemaRefs>
    <ds:schemaRef ds:uri="http://www.w3.org/2001/XMLSchema"/>
  </ds:schemaRefs>
</ds:datastoreItem>
</file>

<file path=customXml/itemProps16.xml><?xml version="1.0" encoding="utf-8"?>
<ds:datastoreItem xmlns:ds="http://schemas.openxmlformats.org/officeDocument/2006/customXml" ds:itemID="{535DD0E2-5F87-46D2-ADCB-BF3B14328B93}">
  <ds:schemaRefs>
    <ds:schemaRef ds:uri="http://www.w3.org/2001/XMLSchema"/>
  </ds:schemaRefs>
</ds:datastoreItem>
</file>

<file path=customXml/itemProps17.xml><?xml version="1.0" encoding="utf-8"?>
<ds:datastoreItem xmlns:ds="http://schemas.openxmlformats.org/officeDocument/2006/customXml" ds:itemID="{E4CF58FF-8B25-476F-8B2F-439CAFE774DB}">
  <ds:schemaRefs>
    <ds:schemaRef ds:uri="http://www.w3.org/2001/XMLSchema"/>
  </ds:schemaRefs>
</ds:datastoreItem>
</file>

<file path=customXml/itemProps18.xml><?xml version="1.0" encoding="utf-8"?>
<ds:datastoreItem xmlns:ds="http://schemas.openxmlformats.org/officeDocument/2006/customXml" ds:itemID="{F59C340D-4F57-43A3-B5CD-4712B5DB8E9D}">
  <ds:schemaRefs>
    <ds:schemaRef ds:uri="http://www.w3.org/2001/XMLSchema"/>
  </ds:schemaRefs>
</ds:datastoreItem>
</file>

<file path=customXml/itemProps19.xml><?xml version="1.0" encoding="utf-8"?>
<ds:datastoreItem xmlns:ds="http://schemas.openxmlformats.org/officeDocument/2006/customXml" ds:itemID="{FFCFF866-B782-462C-B23B-92E4218871E8}">
  <ds:schemaRefs>
    <ds:schemaRef ds:uri="http://www.w3.org/2001/XMLSchema"/>
  </ds:schemaRefs>
</ds:datastoreItem>
</file>

<file path=customXml/itemProps2.xml><?xml version="1.0" encoding="utf-8"?>
<ds:datastoreItem xmlns:ds="http://schemas.openxmlformats.org/officeDocument/2006/customXml" ds:itemID="{DCDB1690-4CF8-4887-8A85-4681D6D03272}">
  <ds:schemaRefs>
    <ds:schemaRef ds:uri="http://schemas.microsoft.com/sharepoint/v3/contenttype/forms"/>
  </ds:schemaRefs>
</ds:datastoreItem>
</file>

<file path=customXml/itemProps20.xml><?xml version="1.0" encoding="utf-8"?>
<ds:datastoreItem xmlns:ds="http://schemas.openxmlformats.org/officeDocument/2006/customXml" ds:itemID="{C41181A3-BF44-4324-AECB-875CE9EE15F3}">
  <ds:schemaRefs>
    <ds:schemaRef ds:uri="http://www.w3.org/2001/XMLSchema"/>
  </ds:schemaRefs>
</ds:datastoreItem>
</file>

<file path=customXml/itemProps21.xml><?xml version="1.0" encoding="utf-8"?>
<ds:datastoreItem xmlns:ds="http://schemas.openxmlformats.org/officeDocument/2006/customXml" ds:itemID="{4E18DFB7-AF42-4887-A653-6AE4E129405F}">
  <ds:schemaRefs>
    <ds:schemaRef ds:uri="http://www.w3.org/2001/XMLSchema"/>
  </ds:schemaRefs>
</ds:datastoreItem>
</file>

<file path=customXml/itemProps22.xml><?xml version="1.0" encoding="utf-8"?>
<ds:datastoreItem xmlns:ds="http://schemas.openxmlformats.org/officeDocument/2006/customXml" ds:itemID="{CA2C8212-0067-4F1D-AEEE-89E7F9087785}">
  <ds:schemaRefs>
    <ds:schemaRef ds:uri="http://www.w3.org/2001/XMLSchema"/>
  </ds:schemaRefs>
</ds:datastoreItem>
</file>

<file path=customXml/itemProps23.xml><?xml version="1.0" encoding="utf-8"?>
<ds:datastoreItem xmlns:ds="http://schemas.openxmlformats.org/officeDocument/2006/customXml" ds:itemID="{D9348C07-1E6B-4014-98CC-8BB85256C2E9}">
  <ds:schemaRefs>
    <ds:schemaRef ds:uri="http://www.w3.org/2001/XMLSchema"/>
  </ds:schemaRefs>
</ds:datastoreItem>
</file>

<file path=customXml/itemProps24.xml><?xml version="1.0" encoding="utf-8"?>
<ds:datastoreItem xmlns:ds="http://schemas.openxmlformats.org/officeDocument/2006/customXml" ds:itemID="{15E14063-6D15-404C-AFB6-43ADF0C0DD41}">
  <ds:schemaRefs>
    <ds:schemaRef ds:uri="http://www.w3.org/2001/XMLSchema"/>
  </ds:schemaRefs>
</ds:datastoreItem>
</file>

<file path=customXml/itemProps25.xml><?xml version="1.0" encoding="utf-8"?>
<ds:datastoreItem xmlns:ds="http://schemas.openxmlformats.org/officeDocument/2006/customXml" ds:itemID="{268400DD-65DB-470B-A06A-A85C4BBFF02F}">
  <ds:schemaRefs>
    <ds:schemaRef ds:uri="http://www.w3.org/2001/XMLSchema"/>
  </ds:schemaRefs>
</ds:datastoreItem>
</file>

<file path=customXml/itemProps26.xml><?xml version="1.0" encoding="utf-8"?>
<ds:datastoreItem xmlns:ds="http://schemas.openxmlformats.org/officeDocument/2006/customXml" ds:itemID="{B3404B29-B12B-4AD6-9600-2326122AA242}">
  <ds:schemaRefs>
    <ds:schemaRef ds:uri="http://www.w3.org/2001/XMLSchema"/>
  </ds:schemaRefs>
</ds:datastoreItem>
</file>

<file path=customXml/itemProps27.xml><?xml version="1.0" encoding="utf-8"?>
<ds:datastoreItem xmlns:ds="http://schemas.openxmlformats.org/officeDocument/2006/customXml" ds:itemID="{DBB30C88-CD65-462F-B924-FDEB7A0F09BD}">
  <ds:schemaRefs>
    <ds:schemaRef ds:uri="http://www.w3.org/2001/XMLSchema"/>
  </ds:schemaRefs>
</ds:datastoreItem>
</file>

<file path=customXml/itemProps28.xml><?xml version="1.0" encoding="utf-8"?>
<ds:datastoreItem xmlns:ds="http://schemas.openxmlformats.org/officeDocument/2006/customXml" ds:itemID="{C4463173-EC99-467C-9A70-BD2BF1240458}">
  <ds:schemaRefs>
    <ds:schemaRef ds:uri="http://www.w3.org/2001/XMLSchema"/>
  </ds:schemaRefs>
</ds:datastoreItem>
</file>

<file path=customXml/itemProps29.xml><?xml version="1.0" encoding="utf-8"?>
<ds:datastoreItem xmlns:ds="http://schemas.openxmlformats.org/officeDocument/2006/customXml" ds:itemID="{02EDAAD7-30B6-4ACD-BA32-F10318B4E3BB}">
  <ds:schemaRefs>
    <ds:schemaRef ds:uri="http://www.w3.org/2001/XMLSchema"/>
  </ds:schemaRefs>
</ds:datastoreItem>
</file>

<file path=customXml/itemProps3.xml><?xml version="1.0" encoding="utf-8"?>
<ds:datastoreItem xmlns:ds="http://schemas.openxmlformats.org/officeDocument/2006/customXml" ds:itemID="{86E9DB7A-C649-4675-B50A-1BE58C3421E5}">
  <ds:schemaRefs>
    <ds:schemaRef ds:uri="http://www.w3.org/2001/XMLSchema"/>
  </ds:schemaRefs>
</ds:datastoreItem>
</file>

<file path=customXml/itemProps30.xml><?xml version="1.0" encoding="utf-8"?>
<ds:datastoreItem xmlns:ds="http://schemas.openxmlformats.org/officeDocument/2006/customXml" ds:itemID="{59FF60E1-E3A5-48EE-9FC1-39A09AF817D4}">
  <ds:schemaRefs>
    <ds:schemaRef ds:uri="http://www.w3.org/2001/XMLSchema"/>
  </ds:schemaRefs>
</ds:datastoreItem>
</file>

<file path=customXml/itemProps31.xml><?xml version="1.0" encoding="utf-8"?>
<ds:datastoreItem xmlns:ds="http://schemas.openxmlformats.org/officeDocument/2006/customXml" ds:itemID="{E39B11E5-077D-4BBF-AF63-E8B8A6D036DB}">
  <ds:schemaRefs>
    <ds:schemaRef ds:uri="http://www.w3.org/2001/XMLSchema"/>
  </ds:schemaRefs>
</ds:datastoreItem>
</file>

<file path=customXml/itemProps32.xml><?xml version="1.0" encoding="utf-8"?>
<ds:datastoreItem xmlns:ds="http://schemas.openxmlformats.org/officeDocument/2006/customXml" ds:itemID="{E917FBD8-6C97-4CD7-97F4-1E1500CE9A9C}">
  <ds:schemaRefs>
    <ds:schemaRef ds:uri="http://www.w3.org/2001/XMLSchema"/>
  </ds:schemaRefs>
</ds:datastoreItem>
</file>

<file path=customXml/itemProps33.xml><?xml version="1.0" encoding="utf-8"?>
<ds:datastoreItem xmlns:ds="http://schemas.openxmlformats.org/officeDocument/2006/customXml" ds:itemID="{9D125730-63B3-4611-99E5-A47E22D5544D}">
  <ds:schemaRefs>
    <ds:schemaRef ds:uri="http://www.w3.org/2001/XMLSchema"/>
  </ds:schemaRefs>
</ds:datastoreItem>
</file>

<file path=customXml/itemProps34.xml><?xml version="1.0" encoding="utf-8"?>
<ds:datastoreItem xmlns:ds="http://schemas.openxmlformats.org/officeDocument/2006/customXml" ds:itemID="{E571E618-B32B-4FB0-BD5B-D83EAD2F7B68}">
  <ds:schemaRefs>
    <ds:schemaRef ds:uri="http://www.w3.org/2001/XMLSchema"/>
  </ds:schemaRefs>
</ds:datastoreItem>
</file>

<file path=customXml/itemProps35.xml><?xml version="1.0" encoding="utf-8"?>
<ds:datastoreItem xmlns:ds="http://schemas.openxmlformats.org/officeDocument/2006/customXml" ds:itemID="{C39CAF09-DA15-4725-BDD7-277AA9A52B6D}">
  <ds:schemaRefs>
    <ds:schemaRef ds:uri="http://www.w3.org/2001/XMLSchema"/>
  </ds:schemaRefs>
</ds:datastoreItem>
</file>

<file path=customXml/itemProps36.xml><?xml version="1.0" encoding="utf-8"?>
<ds:datastoreItem xmlns:ds="http://schemas.openxmlformats.org/officeDocument/2006/customXml" ds:itemID="{029D9584-4B2C-4846-9954-9B6C8317D3C7}">
  <ds:schemaRefs>
    <ds:schemaRef ds:uri="http://www.w3.org/2001/XMLSchema"/>
  </ds:schemaRefs>
</ds:datastoreItem>
</file>

<file path=customXml/itemProps37.xml><?xml version="1.0" encoding="utf-8"?>
<ds:datastoreItem xmlns:ds="http://schemas.openxmlformats.org/officeDocument/2006/customXml" ds:itemID="{281140D0-CFF4-4662-9C45-8943C23FC066}">
  <ds:schemaRefs>
    <ds:schemaRef ds:uri="http://www.w3.org/2001/XMLSchema"/>
  </ds:schemaRefs>
</ds:datastoreItem>
</file>

<file path=customXml/itemProps38.xml><?xml version="1.0" encoding="utf-8"?>
<ds:datastoreItem xmlns:ds="http://schemas.openxmlformats.org/officeDocument/2006/customXml" ds:itemID="{152C4616-E904-4841-9523-90E33BB5990C}">
  <ds:schemaRefs>
    <ds:schemaRef ds:uri="http://www.w3.org/2001/XMLSchema"/>
  </ds:schemaRefs>
</ds:datastoreItem>
</file>

<file path=customXml/itemProps39.xml><?xml version="1.0" encoding="utf-8"?>
<ds:datastoreItem xmlns:ds="http://schemas.openxmlformats.org/officeDocument/2006/customXml" ds:itemID="{9AB6D5B8-A713-49FD-B8B6-C61EDC3C2D4F}">
  <ds:schemaRefs>
    <ds:schemaRef ds:uri="http://www.w3.org/2001/XMLSchema"/>
  </ds:schemaRefs>
</ds:datastoreItem>
</file>

<file path=customXml/itemProps4.xml><?xml version="1.0" encoding="utf-8"?>
<ds:datastoreItem xmlns:ds="http://schemas.openxmlformats.org/officeDocument/2006/customXml" ds:itemID="{F14CBA09-FEAF-404B-987F-1AB49AD0F098}">
  <ds:schemaRefs>
    <ds:schemaRef ds:uri="http://www.w3.org/2001/XMLSchema"/>
  </ds:schemaRefs>
</ds:datastoreItem>
</file>

<file path=customXml/itemProps40.xml><?xml version="1.0" encoding="utf-8"?>
<ds:datastoreItem xmlns:ds="http://schemas.openxmlformats.org/officeDocument/2006/customXml" ds:itemID="{CECC2B06-B96D-401F-910E-06ACE8ED91D9}">
  <ds:schemaRefs>
    <ds:schemaRef ds:uri="http://www.w3.org/2001/XMLSchema"/>
  </ds:schemaRefs>
</ds:datastoreItem>
</file>

<file path=customXml/itemProps41.xml><?xml version="1.0" encoding="utf-8"?>
<ds:datastoreItem xmlns:ds="http://schemas.openxmlformats.org/officeDocument/2006/customXml" ds:itemID="{141B2937-7875-4AC8-9EAF-310928ACDCAC}">
  <ds:schemaRefs>
    <ds:schemaRef ds:uri="http://www.w3.org/2001/XMLSchema"/>
  </ds:schemaRefs>
</ds:datastoreItem>
</file>

<file path=customXml/itemProps42.xml><?xml version="1.0" encoding="utf-8"?>
<ds:datastoreItem xmlns:ds="http://schemas.openxmlformats.org/officeDocument/2006/customXml" ds:itemID="{5FDF1299-A818-4942-A99A-6ACC56029410}">
  <ds:schemaRefs>
    <ds:schemaRef ds:uri="http://www.w3.org/2001/XMLSchema"/>
  </ds:schemaRefs>
</ds:datastoreItem>
</file>

<file path=customXml/itemProps43.xml><?xml version="1.0" encoding="utf-8"?>
<ds:datastoreItem xmlns:ds="http://schemas.openxmlformats.org/officeDocument/2006/customXml" ds:itemID="{5FC8AD33-3A86-4DCF-AE6B-3071D443C944}">
  <ds:schemaRefs>
    <ds:schemaRef ds:uri="http://www.w3.org/2001/XMLSchema"/>
  </ds:schemaRefs>
</ds:datastoreItem>
</file>

<file path=customXml/itemProps44.xml><?xml version="1.0" encoding="utf-8"?>
<ds:datastoreItem xmlns:ds="http://schemas.openxmlformats.org/officeDocument/2006/customXml" ds:itemID="{B5EE003F-AACE-4CCD-AE5E-C319AB398FB9}">
  <ds:schemaRefs>
    <ds:schemaRef ds:uri="http://www.w3.org/2001/XMLSchema"/>
  </ds:schemaRefs>
</ds:datastoreItem>
</file>

<file path=customXml/itemProps45.xml><?xml version="1.0" encoding="utf-8"?>
<ds:datastoreItem xmlns:ds="http://schemas.openxmlformats.org/officeDocument/2006/customXml" ds:itemID="{B06F0990-77F0-4EB7-81D9-057B8021F2E2}">
  <ds:schemaRefs>
    <ds:schemaRef ds:uri="http://www.w3.org/2001/XMLSchema"/>
  </ds:schemaRefs>
</ds:datastoreItem>
</file>

<file path=customXml/itemProps46.xml><?xml version="1.0" encoding="utf-8"?>
<ds:datastoreItem xmlns:ds="http://schemas.openxmlformats.org/officeDocument/2006/customXml" ds:itemID="{E9FB47FE-CC64-47F2-A444-28B9B61431B8}">
  <ds:schemaRefs>
    <ds:schemaRef ds:uri="http://www.w3.org/2001/XMLSchema"/>
  </ds:schemaRefs>
</ds:datastoreItem>
</file>

<file path=customXml/itemProps47.xml><?xml version="1.0" encoding="utf-8"?>
<ds:datastoreItem xmlns:ds="http://schemas.openxmlformats.org/officeDocument/2006/customXml" ds:itemID="{F1B18864-DD5F-475F-B43E-533AC977E410}">
  <ds:schemaRefs>
    <ds:schemaRef ds:uri="http://www.w3.org/2001/XMLSchema"/>
  </ds:schemaRefs>
</ds:datastoreItem>
</file>

<file path=customXml/itemProps48.xml><?xml version="1.0" encoding="utf-8"?>
<ds:datastoreItem xmlns:ds="http://schemas.openxmlformats.org/officeDocument/2006/customXml" ds:itemID="{A3CD4C50-97C5-4A13-A5A2-9AD0815BCA0D}">
  <ds:schemaRefs>
    <ds:schemaRef ds:uri="http://www.w3.org/2001/XMLSchema"/>
  </ds:schemaRefs>
</ds:datastoreItem>
</file>

<file path=customXml/itemProps49.xml><?xml version="1.0" encoding="utf-8"?>
<ds:datastoreItem xmlns:ds="http://schemas.openxmlformats.org/officeDocument/2006/customXml" ds:itemID="{CCDA447B-4D39-4C10-9148-87A360ABED2F}">
  <ds:schemaRefs>
    <ds:schemaRef ds:uri="http://www.w3.org/2001/XMLSchema"/>
  </ds:schemaRefs>
</ds:datastoreItem>
</file>

<file path=customXml/itemProps5.xml><?xml version="1.0" encoding="utf-8"?>
<ds:datastoreItem xmlns:ds="http://schemas.openxmlformats.org/officeDocument/2006/customXml" ds:itemID="{6E08A1E3-253A-4517-97D3-0BD56DB45B37}">
  <ds:schemaRefs>
    <ds:schemaRef ds:uri="http://www.w3.org/2001/XMLSchema"/>
  </ds:schemaRefs>
</ds:datastoreItem>
</file>

<file path=customXml/itemProps50.xml><?xml version="1.0" encoding="utf-8"?>
<ds:datastoreItem xmlns:ds="http://schemas.openxmlformats.org/officeDocument/2006/customXml" ds:itemID="{F4497770-156D-4938-BA98-5B2E06CE31CC}">
  <ds:schemaRefs>
    <ds:schemaRef ds:uri="http://www.w3.org/2001/XMLSchema"/>
  </ds:schemaRefs>
</ds:datastoreItem>
</file>

<file path=customXml/itemProps51.xml><?xml version="1.0" encoding="utf-8"?>
<ds:datastoreItem xmlns:ds="http://schemas.openxmlformats.org/officeDocument/2006/customXml" ds:itemID="{5071CEB3-5C80-4DBF-AE51-491CFD3DFA23}">
  <ds:schemaRefs>
    <ds:schemaRef ds:uri="http://www.w3.org/2001/XMLSchema"/>
  </ds:schemaRefs>
</ds:datastoreItem>
</file>

<file path=customXml/itemProps52.xml><?xml version="1.0" encoding="utf-8"?>
<ds:datastoreItem xmlns:ds="http://schemas.openxmlformats.org/officeDocument/2006/customXml" ds:itemID="{68704D0C-8AB9-42AB-B004-03E61D2FC4A7}">
  <ds:schemaRefs>
    <ds:schemaRef ds:uri="http://www.w3.org/2001/XMLSchema"/>
  </ds:schemaRefs>
</ds:datastoreItem>
</file>

<file path=customXml/itemProps53.xml><?xml version="1.0" encoding="utf-8"?>
<ds:datastoreItem xmlns:ds="http://schemas.openxmlformats.org/officeDocument/2006/customXml" ds:itemID="{4A8EF070-B7A1-4D20-AA54-61F173CA2706}">
  <ds:schemaRefs>
    <ds:schemaRef ds:uri="http://www.w3.org/2001/XMLSchema"/>
  </ds:schemaRefs>
</ds:datastoreItem>
</file>

<file path=customXml/itemProps54.xml><?xml version="1.0" encoding="utf-8"?>
<ds:datastoreItem xmlns:ds="http://schemas.openxmlformats.org/officeDocument/2006/customXml" ds:itemID="{43FD868C-286B-42F8-9784-A8204B274F36}">
  <ds:schemaRefs>
    <ds:schemaRef ds:uri="http://www.w3.org/2001/XMLSchema"/>
  </ds:schemaRefs>
</ds:datastoreItem>
</file>

<file path=customXml/itemProps55.xml><?xml version="1.0" encoding="utf-8"?>
<ds:datastoreItem xmlns:ds="http://schemas.openxmlformats.org/officeDocument/2006/customXml" ds:itemID="{6D48B421-7AF9-4F7C-A331-16F961053C1C}">
  <ds:schemaRefs>
    <ds:schemaRef ds:uri="http://www.w3.org/2001/XMLSchema"/>
  </ds:schemaRefs>
</ds:datastoreItem>
</file>

<file path=customXml/itemProps56.xml><?xml version="1.0" encoding="utf-8"?>
<ds:datastoreItem xmlns:ds="http://schemas.openxmlformats.org/officeDocument/2006/customXml" ds:itemID="{0D39DF63-D74D-4908-8C6C-545FE16F3FC8}">
  <ds:schemaRefs>
    <ds:schemaRef ds:uri="http://www.w3.org/2001/XMLSchema"/>
  </ds:schemaRefs>
</ds:datastoreItem>
</file>

<file path=customXml/itemProps57.xml><?xml version="1.0" encoding="utf-8"?>
<ds:datastoreItem xmlns:ds="http://schemas.openxmlformats.org/officeDocument/2006/customXml" ds:itemID="{7514C59C-37A2-4548-8176-DEE012C681C8}">
  <ds:schemaRefs>
    <ds:schemaRef ds:uri="http://www.w3.org/2001/XMLSchema"/>
  </ds:schemaRefs>
</ds:datastoreItem>
</file>

<file path=customXml/itemProps58.xml><?xml version="1.0" encoding="utf-8"?>
<ds:datastoreItem xmlns:ds="http://schemas.openxmlformats.org/officeDocument/2006/customXml" ds:itemID="{8010BD57-7D2E-44F0-B0D2-5A2BC718B7B3}">
  <ds:schemaRefs>
    <ds:schemaRef ds:uri="http://www.w3.org/2001/XMLSchema"/>
  </ds:schemaRefs>
</ds:datastoreItem>
</file>

<file path=customXml/itemProps59.xml><?xml version="1.0" encoding="utf-8"?>
<ds:datastoreItem xmlns:ds="http://schemas.openxmlformats.org/officeDocument/2006/customXml" ds:itemID="{04D04FB1-83B9-4B72-B53E-51E4CD898F18}">
  <ds:schemaRefs>
    <ds:schemaRef ds:uri="http://www.w3.org/2001/XMLSchema"/>
  </ds:schemaRefs>
</ds:datastoreItem>
</file>

<file path=customXml/itemProps6.xml><?xml version="1.0" encoding="utf-8"?>
<ds:datastoreItem xmlns:ds="http://schemas.openxmlformats.org/officeDocument/2006/customXml" ds:itemID="{ABA47373-277A-4C0D-B9F3-7A43D1DE28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0453b8-ab38-4dc1-916f-db52cb999787"/>
    <ds:schemaRef ds:uri="bbde8da2-f31a-44c0-a1d5-6b87fec3c7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0.xml><?xml version="1.0" encoding="utf-8"?>
<ds:datastoreItem xmlns:ds="http://schemas.openxmlformats.org/officeDocument/2006/customXml" ds:itemID="{B3FA509C-83E6-4961-A1F9-0B92A321CBD6}">
  <ds:schemaRefs>
    <ds:schemaRef ds:uri="http://www.w3.org/2001/XMLSchema"/>
  </ds:schemaRefs>
</ds:datastoreItem>
</file>

<file path=customXml/itemProps61.xml><?xml version="1.0" encoding="utf-8"?>
<ds:datastoreItem xmlns:ds="http://schemas.openxmlformats.org/officeDocument/2006/customXml" ds:itemID="{DEE23D61-2275-4333-9AA0-4A107B8B9CD0}">
  <ds:schemaRefs>
    <ds:schemaRef ds:uri="http://www.w3.org/2001/XMLSchema"/>
  </ds:schemaRefs>
</ds:datastoreItem>
</file>

<file path=customXml/itemProps62.xml><?xml version="1.0" encoding="utf-8"?>
<ds:datastoreItem xmlns:ds="http://schemas.openxmlformats.org/officeDocument/2006/customXml" ds:itemID="{3E5E875A-9432-4198-8F24-44332334794D}">
  <ds:schemaRefs>
    <ds:schemaRef ds:uri="http://www.w3.org/2001/XMLSchema"/>
  </ds:schemaRefs>
</ds:datastoreItem>
</file>

<file path=customXml/itemProps63.xml><?xml version="1.0" encoding="utf-8"?>
<ds:datastoreItem xmlns:ds="http://schemas.openxmlformats.org/officeDocument/2006/customXml" ds:itemID="{1B1E2CFE-C05E-4A46-8423-D436B90A2B26}">
  <ds:schemaRefs>
    <ds:schemaRef ds:uri="http://www.w3.org/2001/XMLSchema"/>
  </ds:schemaRefs>
</ds:datastoreItem>
</file>

<file path=customXml/itemProps64.xml><?xml version="1.0" encoding="utf-8"?>
<ds:datastoreItem xmlns:ds="http://schemas.openxmlformats.org/officeDocument/2006/customXml" ds:itemID="{745DA847-12A3-4BB1-8DA1-4EF40DDFE68E}">
  <ds:schemaRefs>
    <ds:schemaRef ds:uri="http://www.w3.org/2001/XMLSchema"/>
  </ds:schemaRefs>
</ds:datastoreItem>
</file>

<file path=customXml/itemProps65.xml><?xml version="1.0" encoding="utf-8"?>
<ds:datastoreItem xmlns:ds="http://schemas.openxmlformats.org/officeDocument/2006/customXml" ds:itemID="{C1881EE4-6C3A-4B2C-AF8E-9F51158D7936}">
  <ds:schemaRefs>
    <ds:schemaRef ds:uri="http://www.w3.org/2001/XMLSchema"/>
  </ds:schemaRefs>
</ds:datastoreItem>
</file>

<file path=customXml/itemProps66.xml><?xml version="1.0" encoding="utf-8"?>
<ds:datastoreItem xmlns:ds="http://schemas.openxmlformats.org/officeDocument/2006/customXml" ds:itemID="{C2C35E58-14F5-4792-943A-538022C48C58}">
  <ds:schemaRefs>
    <ds:schemaRef ds:uri="http://www.w3.org/2001/XMLSchema"/>
  </ds:schemaRefs>
</ds:datastoreItem>
</file>

<file path=customXml/itemProps67.xml><?xml version="1.0" encoding="utf-8"?>
<ds:datastoreItem xmlns:ds="http://schemas.openxmlformats.org/officeDocument/2006/customXml" ds:itemID="{2C2BA145-261F-4DC5-9BC1-968E468AF120}">
  <ds:schemaRefs>
    <ds:schemaRef ds:uri="http://www.w3.org/2001/XMLSchema"/>
  </ds:schemaRefs>
</ds:datastoreItem>
</file>

<file path=customXml/itemProps68.xml><?xml version="1.0" encoding="utf-8"?>
<ds:datastoreItem xmlns:ds="http://schemas.openxmlformats.org/officeDocument/2006/customXml" ds:itemID="{683A975E-2BC6-4D7E-AD71-4DD6941DD119}">
  <ds:schemaRefs>
    <ds:schemaRef ds:uri="http://www.w3.org/2001/XMLSchema"/>
  </ds:schemaRefs>
</ds:datastoreItem>
</file>

<file path=customXml/itemProps69.xml><?xml version="1.0" encoding="utf-8"?>
<ds:datastoreItem xmlns:ds="http://schemas.openxmlformats.org/officeDocument/2006/customXml" ds:itemID="{7C42B602-7515-473E-8F1E-5503EC3B9FB1}">
  <ds:schemaRefs>
    <ds:schemaRef ds:uri="http://www.w3.org/2001/XMLSchema"/>
  </ds:schemaRefs>
</ds:datastoreItem>
</file>

<file path=customXml/itemProps7.xml><?xml version="1.0" encoding="utf-8"?>
<ds:datastoreItem xmlns:ds="http://schemas.openxmlformats.org/officeDocument/2006/customXml" ds:itemID="{7F82062E-9818-4653-A31B-81D65328C525}">
  <ds:schemaRefs>
    <ds:schemaRef ds:uri="http://www.w3.org/2001/XMLSchema"/>
  </ds:schemaRefs>
</ds:datastoreItem>
</file>

<file path=customXml/itemProps8.xml><?xml version="1.0" encoding="utf-8"?>
<ds:datastoreItem xmlns:ds="http://schemas.openxmlformats.org/officeDocument/2006/customXml" ds:itemID="{58D42C7F-C51A-4196-A564-FB7B576BC2EA}">
  <ds:schemaRefs>
    <ds:schemaRef ds:uri="http://www.w3.org/2001/XMLSchema"/>
  </ds:schemaRefs>
</ds:datastoreItem>
</file>

<file path=customXml/itemProps9.xml><?xml version="1.0" encoding="utf-8"?>
<ds:datastoreItem xmlns:ds="http://schemas.openxmlformats.org/officeDocument/2006/customXml" ds:itemID="{72C78640-4239-496D-8B41-5374030624DC}">
  <ds:schemaRefs>
    <ds:schemaRef ds:uri="http://purl.org/dc/dcmitype/"/>
    <ds:schemaRef ds:uri="http://purl.org/dc/terms/"/>
    <ds:schemaRef ds:uri="http://schemas.microsoft.com/office/2006/metadata/properties"/>
    <ds:schemaRef ds:uri="http://www.w3.org/XML/1998/namespace"/>
    <ds:schemaRef ds:uri="http://purl.org/dc/elements/1.1/"/>
    <ds:schemaRef ds:uri="bbde8da2-f31a-44c0-a1d5-6b87fec3c76e"/>
    <ds:schemaRef ds:uri="http://schemas.microsoft.com/office/2006/documentManagement/types"/>
    <ds:schemaRef ds:uri="http://schemas.microsoft.com/office/infopath/2007/PartnerControls"/>
    <ds:schemaRef ds:uri="http://schemas.openxmlformats.org/package/2006/metadata/core-properties"/>
    <ds:schemaRef ds:uri="7f0453b8-ab38-4dc1-916f-db52cb999787"/>
  </ds:schemaRefs>
</ds:datastoreItem>
</file>

<file path=docProps/app.xml><?xml version="1.0" encoding="utf-8"?>
<Properties xmlns="http://schemas.openxmlformats.org/officeDocument/2006/extended-properties" xmlns:vt="http://schemas.openxmlformats.org/officeDocument/2006/docPropsVTypes">
  <Template>MMC2021.Classic16x9</Template>
  <TotalTime>8382</TotalTime>
  <Words>1585</Words>
  <Application>Microsoft Office PowerPoint</Application>
  <PresentationFormat>Widescreen</PresentationFormat>
  <Paragraphs>157</Paragraphs>
  <Slides>14</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ptos</vt:lpstr>
      <vt:lpstr>Arial</vt:lpstr>
      <vt:lpstr>Arial Narrow</vt:lpstr>
      <vt:lpstr>Calibri</vt:lpstr>
      <vt:lpstr>Wingdings</vt:lpstr>
      <vt:lpstr>Marsh McLennan</vt:lpstr>
      <vt:lpstr>think-cell Slide</vt:lpstr>
      <vt:lpstr>Reduction in insurance premiums attributable to Nature-Based solutions</vt:lpstr>
      <vt:lpstr>PowerPoint Presentation</vt:lpstr>
      <vt:lpstr>Controlling Risk: Physical Control </vt:lpstr>
      <vt:lpstr>Controlling Risk: Financial Control </vt:lpstr>
      <vt:lpstr>Examples of Parametric Risk Transfer</vt:lpstr>
      <vt:lpstr>Intersection of Insurance &amp; Nature</vt:lpstr>
      <vt:lpstr>Case Study</vt:lpstr>
      <vt:lpstr>Differences in Modeled Losses </vt:lpstr>
      <vt:lpstr>Example Insurance Layer</vt:lpstr>
      <vt:lpstr>Reduction in Insurance Premiums </vt:lpstr>
      <vt:lpstr>Takeaways &amp; Next Steps</vt:lpstr>
      <vt:lpstr>PowerPoint Presentation</vt:lpstr>
      <vt:lpstr>PowerPoint Presentation</vt:lpstr>
      <vt:lpstr>PowerPoint Presentation</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duction in insurance premiums attributable to mangrove ecosystems in the Philippines</dc:title>
  <dc:creator>Laura Verderame</dc:creator>
  <cp:lastModifiedBy>Verderame, Laura</cp:lastModifiedBy>
  <cp:revision>275</cp:revision>
  <dcterms:created xsi:type="dcterms:W3CDTF">2022-10-12T17:38:56Z</dcterms:created>
  <dcterms:modified xsi:type="dcterms:W3CDTF">2025-03-17T20: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US</vt:lpwstr>
  </property>
  <property fmtid="{D5CDD505-2E9C-101B-9397-08002B2CF9AE}" pid="17" name="MMCOA_LanguageDateFormat">
    <vt:lpwstr>MMMM dd, yyyy</vt:lpwstr>
  </property>
  <property fmtid="{D5CDD505-2E9C-101B-9397-08002B2CF9AE}" pid="18" name="MMCOA_LanguageLocaleId">
    <vt:lpwstr>1033</vt:lpwstr>
  </property>
  <property fmtid="{D5CDD505-2E9C-101B-9397-08002B2CF9AE}" pid="19" name="MMCOA_CoverDigest">
    <vt:lpwstr>MMC2021;fullimage;GUY_FullImageStyles_v1;LIGHT;WHITE</vt:lpwstr>
  </property>
  <property fmtid="{D5CDD505-2E9C-101B-9397-08002B2CF9AE}" pid="20" name="MMCOA_CoverImageID">
    <vt:lpwstr>6c19e298-70c5-427f-8e39-7b0fb84b2387</vt:lpwstr>
  </property>
  <property fmtid="{D5CDD505-2E9C-101B-9397-08002B2CF9AE}" pid="21" name="MMCOA_FontSize">
    <vt:lpwstr>Medium</vt:lpwstr>
  </property>
  <property fmtid="{D5CDD505-2E9C-101B-9397-08002B2CF9AE}" pid="22" name="ContentTypeId">
    <vt:lpwstr>0x010100E8FEFF94A7971A4D81883C31CFA75AFF</vt:lpwstr>
  </property>
</Properties>
</file>